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1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2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1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webextensions/webextension1.xml" ContentType="application/vnd.ms-office.webextension+xml"/>
  <Override PartName="/ppt/notesSlides/notesSlide39.xml" ContentType="application/vnd.openxmlformats-officedocument.presentationml.notesSlide+xml"/>
  <Override PartName="/ppt/webextensions/webextension2.xml" ContentType="application/vnd.ms-office.webextension+xml"/>
  <Override PartName="/ppt/webextensions/webextension3.xml" ContentType="application/vnd.ms-office.webextension+xml"/>
  <Override PartName="/ppt/webextensions/webextension4.xml" ContentType="application/vnd.ms-office.webextension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4"/>
    <p:sldMasterId id="2147483686" r:id="rId5"/>
  </p:sldMasterIdLst>
  <p:notesMasterIdLst>
    <p:notesMasterId r:id="rId48"/>
  </p:notesMasterIdLst>
  <p:handoutMasterIdLst>
    <p:handoutMasterId r:id="rId49"/>
  </p:handoutMasterIdLst>
  <p:sldIdLst>
    <p:sldId id="2328" r:id="rId6"/>
    <p:sldId id="2360" r:id="rId7"/>
    <p:sldId id="2412" r:id="rId8"/>
    <p:sldId id="2437" r:id="rId9"/>
    <p:sldId id="2358" r:id="rId10"/>
    <p:sldId id="2411" r:id="rId11"/>
    <p:sldId id="2343" r:id="rId12"/>
    <p:sldId id="2392" r:id="rId13"/>
    <p:sldId id="2362" r:id="rId14"/>
    <p:sldId id="2393" r:id="rId15"/>
    <p:sldId id="2365" r:id="rId16"/>
    <p:sldId id="2394" r:id="rId17"/>
    <p:sldId id="2367" r:id="rId18"/>
    <p:sldId id="2413" r:id="rId19"/>
    <p:sldId id="2425" r:id="rId20"/>
    <p:sldId id="2426" r:id="rId21"/>
    <p:sldId id="2427" r:id="rId22"/>
    <p:sldId id="2430" r:id="rId23"/>
    <p:sldId id="2397" r:id="rId24"/>
    <p:sldId id="2398" r:id="rId25"/>
    <p:sldId id="2420" r:id="rId26"/>
    <p:sldId id="2431" r:id="rId27"/>
    <p:sldId id="2399" r:id="rId28"/>
    <p:sldId id="2428" r:id="rId29"/>
    <p:sldId id="2435" r:id="rId30"/>
    <p:sldId id="2432" r:id="rId31"/>
    <p:sldId id="2422" r:id="rId32"/>
    <p:sldId id="2400" r:id="rId33"/>
    <p:sldId id="2433" r:id="rId34"/>
    <p:sldId id="2418" r:id="rId35"/>
    <p:sldId id="2429" r:id="rId36"/>
    <p:sldId id="2376" r:id="rId37"/>
    <p:sldId id="2419" r:id="rId38"/>
    <p:sldId id="2378" r:id="rId39"/>
    <p:sldId id="2404" r:id="rId40"/>
    <p:sldId id="2408" r:id="rId41"/>
    <p:sldId id="2423" r:id="rId42"/>
    <p:sldId id="2440" r:id="rId43"/>
    <p:sldId id="2439" r:id="rId44"/>
    <p:sldId id="2389" r:id="rId45"/>
    <p:sldId id="2405" r:id="rId46"/>
    <p:sldId id="2410" r:id="rId47"/>
  </p:sldIdLst>
  <p:sldSz cx="12192000" cy="6858000"/>
  <p:notesSz cx="7315200" cy="96012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4" pos="7344" userDrawn="1">
          <p15:clr>
            <a:srgbClr val="A4A3A4"/>
          </p15:clr>
        </p15:guide>
        <p15:guide id="5" orient="horz" pos="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orient="horz" pos="2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lbir Bains" initials="DB" lastIdx="1" clrIdx="0">
    <p:extLst>
      <p:ext uri="{19B8F6BF-5375-455C-9EA6-DF929625EA0E}">
        <p15:presenceInfo xmlns:p15="http://schemas.microsoft.com/office/powerpoint/2012/main" userId="S::dbains@fgchealth.com::eeaae10e-6cb7-49fa-a065-4a4b5607eb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BF0B"/>
    <a:srgbClr val="F4BF24"/>
    <a:srgbClr val="FBC40B"/>
    <a:srgbClr val="33B050"/>
    <a:srgbClr val="11AFE9"/>
    <a:srgbClr val="000000"/>
    <a:srgbClr val="E1FFEF"/>
    <a:srgbClr val="49A1FB"/>
    <a:srgbClr val="107FA3"/>
    <a:srgbClr val="5252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B1540F-9936-B636-CBBC-DE51BA7AD9EB}" v="45" dt="2025-11-19T15:05:42.244"/>
    <p1510:client id="{94C08CC6-026D-49C8-B904-85BB40680769}" v="298" dt="2025-11-19T19:24:03.9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56" autoAdjust="0"/>
    <p:restoredTop sz="82181" autoAdjust="0"/>
  </p:normalViewPr>
  <p:slideViewPr>
    <p:cSldViewPr snapToGrid="0">
      <p:cViewPr varScale="1">
        <p:scale>
          <a:sx n="63" d="100"/>
          <a:sy n="63" d="100"/>
        </p:scale>
        <p:origin x="204" y="52"/>
      </p:cViewPr>
      <p:guideLst>
        <p:guide orient="horz" pos="624"/>
        <p:guide pos="3840"/>
        <p:guide pos="336"/>
        <p:guide pos="7344"/>
        <p:guide orient="horz" pos="984"/>
        <p:guide orient="horz" pos="2160"/>
        <p:guide orient="horz" pos="2328"/>
      </p:guideLst>
    </p:cSldViewPr>
  </p:slideViewPr>
  <p:outlineViewPr>
    <p:cViewPr>
      <p:scale>
        <a:sx n="33" d="100"/>
        <a:sy n="33" d="100"/>
      </p:scale>
      <p:origin x="0" y="-292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-2262"/>
    </p:cViewPr>
  </p:sorterViewPr>
  <p:notesViewPr>
    <p:cSldViewPr snapToGrid="0">
      <p:cViewPr varScale="1">
        <p:scale>
          <a:sx n="90" d="100"/>
          <a:sy n="90" d="100"/>
        </p:scale>
        <p:origin x="3648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56" Type="http://schemas.microsoft.com/office/2016/11/relationships/changesInfo" Target="changesInfos/changesInfo1.xml"/><Relationship Id="rId8" Type="http://schemas.openxmlformats.org/officeDocument/2006/relationships/slide" Target="slides/slide3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handoutMaster" Target="handoutMasters/handoutMaster1.xml"/><Relationship Id="rId57" Type="http://schemas.microsoft.com/office/2015/10/relationships/revisionInfo" Target="revisionInfo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wila Cruickshank" userId="4e6a8caa-e860-4113-aa6e-ba9b52b14f7e" providerId="ADAL" clId="{71072DA8-F139-4CCE-A23F-D9ACB350D996}"/>
    <pc:docChg chg="undo custSel addSld delSld modSld sldOrd addMainMaster modMainMaster">
      <pc:chgData name="Twila Cruickshank" userId="4e6a8caa-e860-4113-aa6e-ba9b52b14f7e" providerId="ADAL" clId="{71072DA8-F139-4CCE-A23F-D9ACB350D996}" dt="2025-11-19T22:56:39.990" v="12681" actId="20577"/>
      <pc:docMkLst>
        <pc:docMk/>
      </pc:docMkLst>
      <pc:sldChg chg="addSp delSp modSp mod modNotesTx">
        <pc:chgData name="Twila Cruickshank" userId="4e6a8caa-e860-4113-aa6e-ba9b52b14f7e" providerId="ADAL" clId="{71072DA8-F139-4CCE-A23F-D9ACB350D996}" dt="2025-11-18T22:46:35.962" v="7572" actId="113"/>
        <pc:sldMkLst>
          <pc:docMk/>
          <pc:sldMk cId="3798128395" sldId="2328"/>
        </pc:sldMkLst>
        <pc:spChg chg="mod">
          <ac:chgData name="Twila Cruickshank" userId="4e6a8caa-e860-4113-aa6e-ba9b52b14f7e" providerId="ADAL" clId="{71072DA8-F139-4CCE-A23F-D9ACB350D996}" dt="2025-11-17T19:40:19.182" v="2877" actId="20577"/>
          <ac:spMkLst>
            <pc:docMk/>
            <pc:sldMk cId="3798128395" sldId="2328"/>
            <ac:spMk id="21" creationId="{164180C9-1B0D-2891-492D-5D9FA90C1C9D}"/>
          </ac:spMkLst>
        </pc:spChg>
        <pc:picChg chg="add mod">
          <ac:chgData name="Twila Cruickshank" userId="4e6a8caa-e860-4113-aa6e-ba9b52b14f7e" providerId="ADAL" clId="{71072DA8-F139-4CCE-A23F-D9ACB350D996}" dt="2025-11-17T19:37:00.910" v="2832" actId="14100"/>
          <ac:picMkLst>
            <pc:docMk/>
            <pc:sldMk cId="3798128395" sldId="2328"/>
            <ac:picMk id="6" creationId="{1364F68E-1529-4427-0602-480BA2279568}"/>
          </ac:picMkLst>
        </pc:picChg>
        <pc:cxnChg chg="mod">
          <ac:chgData name="Twila Cruickshank" userId="4e6a8caa-e860-4113-aa6e-ba9b52b14f7e" providerId="ADAL" clId="{71072DA8-F139-4CCE-A23F-D9ACB350D996}" dt="2025-11-17T19:39:55.457" v="2868" actId="14100"/>
          <ac:cxnSpMkLst>
            <pc:docMk/>
            <pc:sldMk cId="3798128395" sldId="2328"/>
            <ac:cxnSpMk id="23" creationId="{F716878C-FB35-4A52-A562-49D11CF59F64}"/>
          </ac:cxnSpMkLst>
        </pc:cxnChg>
      </pc:sldChg>
      <pc:sldChg chg="modNotesTx">
        <pc:chgData name="Twila Cruickshank" userId="4e6a8caa-e860-4113-aa6e-ba9b52b14f7e" providerId="ADAL" clId="{71072DA8-F139-4CCE-A23F-D9ACB350D996}" dt="2025-11-19T18:59:19.045" v="12012" actId="6549"/>
        <pc:sldMkLst>
          <pc:docMk/>
          <pc:sldMk cId="3815032878" sldId="2343"/>
        </pc:sldMkLst>
      </pc:sldChg>
      <pc:sldChg chg="addSp delSp modSp mod modNotesTx">
        <pc:chgData name="Twila Cruickshank" userId="4e6a8caa-e860-4113-aa6e-ba9b52b14f7e" providerId="ADAL" clId="{71072DA8-F139-4CCE-A23F-D9ACB350D996}" dt="2025-11-18T23:58:22.528" v="8602" actId="1076"/>
        <pc:sldMkLst>
          <pc:docMk/>
          <pc:sldMk cId="1824366362" sldId="2358"/>
        </pc:sldMkLst>
        <pc:spChg chg="add del mod">
          <ac:chgData name="Twila Cruickshank" userId="4e6a8caa-e860-4113-aa6e-ba9b52b14f7e" providerId="ADAL" clId="{71072DA8-F139-4CCE-A23F-D9ACB350D996}" dt="2025-11-18T21:02:49.585" v="7052" actId="931"/>
          <ac:spMkLst>
            <pc:docMk/>
            <pc:sldMk cId="1824366362" sldId="2358"/>
            <ac:spMk id="4" creationId="{43E551EF-0ECA-9EDF-4F9B-69B4FA8D1B4E}"/>
          </ac:spMkLst>
        </pc:spChg>
        <pc:spChg chg="del">
          <ac:chgData name="Twila Cruickshank" userId="4e6a8caa-e860-4113-aa6e-ba9b52b14f7e" providerId="ADAL" clId="{71072DA8-F139-4CCE-A23F-D9ACB350D996}" dt="2025-11-18T21:02:54.906" v="7055" actId="478"/>
          <ac:spMkLst>
            <pc:docMk/>
            <pc:sldMk cId="1824366362" sldId="2358"/>
            <ac:spMk id="10" creationId="{9A754731-3758-749C-819A-38349370447E}"/>
          </ac:spMkLst>
        </pc:spChg>
        <pc:spChg chg="add del mod">
          <ac:chgData name="Twila Cruickshank" userId="4e6a8caa-e860-4113-aa6e-ba9b52b14f7e" providerId="ADAL" clId="{71072DA8-F139-4CCE-A23F-D9ACB350D996}" dt="2025-11-18T21:03:42.825" v="7067" actId="478"/>
          <ac:spMkLst>
            <pc:docMk/>
            <pc:sldMk cId="1824366362" sldId="2358"/>
            <ac:spMk id="14" creationId="{CEC81F14-D759-76D6-117C-BF70F92F3485}"/>
          </ac:spMkLst>
        </pc:spChg>
        <pc:spChg chg="add mod">
          <ac:chgData name="Twila Cruickshank" userId="4e6a8caa-e860-4113-aa6e-ba9b52b14f7e" providerId="ADAL" clId="{71072DA8-F139-4CCE-A23F-D9ACB350D996}" dt="2025-11-18T21:03:46.508" v="7070" actId="478"/>
          <ac:spMkLst>
            <pc:docMk/>
            <pc:sldMk cId="1824366362" sldId="2358"/>
            <ac:spMk id="16" creationId="{E85C4FA8-B891-09AF-3E40-A19386985E9E}"/>
          </ac:spMkLst>
        </pc:spChg>
        <pc:graphicFrameChg chg="mod modGraphic">
          <ac:chgData name="Twila Cruickshank" userId="4e6a8caa-e860-4113-aa6e-ba9b52b14f7e" providerId="ADAL" clId="{71072DA8-F139-4CCE-A23F-D9ACB350D996}" dt="2025-11-18T22:55:28.693" v="7590" actId="20577"/>
          <ac:graphicFrameMkLst>
            <pc:docMk/>
            <pc:sldMk cId="1824366362" sldId="2358"/>
            <ac:graphicFrameMk id="7" creationId="{64A33918-BAD8-1263-CD98-BF7DF2F8C49B}"/>
          </ac:graphicFrameMkLst>
        </pc:graphicFrameChg>
        <pc:picChg chg="add del mod">
          <ac:chgData name="Twila Cruickshank" userId="4e6a8caa-e860-4113-aa6e-ba9b52b14f7e" providerId="ADAL" clId="{71072DA8-F139-4CCE-A23F-D9ACB350D996}" dt="2025-11-18T15:30:36.671" v="5986" actId="478"/>
          <ac:picMkLst>
            <pc:docMk/>
            <pc:sldMk cId="1824366362" sldId="2358"/>
            <ac:picMk id="6" creationId="{02FC30D2-7A6E-5DFA-10D6-FD8806D5C281}"/>
          </ac:picMkLst>
        </pc:picChg>
        <pc:picChg chg="add del mod">
          <ac:chgData name="Twila Cruickshank" userId="4e6a8caa-e860-4113-aa6e-ba9b52b14f7e" providerId="ADAL" clId="{71072DA8-F139-4CCE-A23F-D9ACB350D996}" dt="2025-11-18T21:03:46.508" v="7070" actId="478"/>
          <ac:picMkLst>
            <pc:docMk/>
            <pc:sldMk cId="1824366362" sldId="2358"/>
            <ac:picMk id="8" creationId="{43680115-1C47-3DD1-4582-EAB1FE1E8DCC}"/>
          </ac:picMkLst>
        </pc:picChg>
        <pc:picChg chg="add del mod">
          <ac:chgData name="Twila Cruickshank" userId="4e6a8caa-e860-4113-aa6e-ba9b52b14f7e" providerId="ADAL" clId="{71072DA8-F139-4CCE-A23F-D9ACB350D996}" dt="2025-11-18T21:02:41.275" v="7051" actId="478"/>
          <ac:picMkLst>
            <pc:docMk/>
            <pc:sldMk cId="1824366362" sldId="2358"/>
            <ac:picMk id="9" creationId="{C3632D46-9EE6-0A07-CADA-0A86F756CD8E}"/>
          </ac:picMkLst>
        </pc:picChg>
        <pc:picChg chg="add mod">
          <ac:chgData name="Twila Cruickshank" userId="4e6a8caa-e860-4113-aa6e-ba9b52b14f7e" providerId="ADAL" clId="{71072DA8-F139-4CCE-A23F-D9ACB350D996}" dt="2025-11-18T23:58:22.528" v="8602" actId="1076"/>
          <ac:picMkLst>
            <pc:docMk/>
            <pc:sldMk cId="1824366362" sldId="2358"/>
            <ac:picMk id="12" creationId="{DF12F918-A66D-CA5E-AAD1-2F81E3D998C8}"/>
          </ac:picMkLst>
        </pc:picChg>
      </pc:sldChg>
      <pc:sldChg chg="modSp mod modNotesTx">
        <pc:chgData name="Twila Cruickshank" userId="4e6a8caa-e860-4113-aa6e-ba9b52b14f7e" providerId="ADAL" clId="{71072DA8-F139-4CCE-A23F-D9ACB350D996}" dt="2025-11-19T22:56:39.990" v="12681" actId="20577"/>
        <pc:sldMkLst>
          <pc:docMk/>
          <pc:sldMk cId="4276527319" sldId="2360"/>
        </pc:sldMkLst>
        <pc:spChg chg="mod">
          <ac:chgData name="Twila Cruickshank" userId="4e6a8caa-e860-4113-aa6e-ba9b52b14f7e" providerId="ADAL" clId="{71072DA8-F139-4CCE-A23F-D9ACB350D996}" dt="2025-11-18T20:58:19.743" v="7040" actId="1076"/>
          <ac:spMkLst>
            <pc:docMk/>
            <pc:sldMk cId="4276527319" sldId="2360"/>
            <ac:spMk id="12" creationId="{6A3D33B6-7294-D5BF-0B41-A88212F4329C}"/>
          </ac:spMkLst>
        </pc:spChg>
      </pc:sldChg>
      <pc:sldChg chg="addSp delSp modSp mod modNotesTx">
        <pc:chgData name="Twila Cruickshank" userId="4e6a8caa-e860-4113-aa6e-ba9b52b14f7e" providerId="ADAL" clId="{71072DA8-F139-4CCE-A23F-D9ACB350D996}" dt="2025-11-19T18:58:47.108" v="11927" actId="20577"/>
        <pc:sldMkLst>
          <pc:docMk/>
          <pc:sldMk cId="3128018412" sldId="2362"/>
        </pc:sldMkLst>
        <pc:picChg chg="add mod modCrop">
          <ac:chgData name="Twila Cruickshank" userId="4e6a8caa-e860-4113-aa6e-ba9b52b14f7e" providerId="ADAL" clId="{71072DA8-F139-4CCE-A23F-D9ACB350D996}" dt="2025-11-18T15:59:38.727" v="5988" actId="14100"/>
          <ac:picMkLst>
            <pc:docMk/>
            <pc:sldMk cId="3128018412" sldId="2362"/>
            <ac:picMk id="5" creationId="{ED7994DF-743F-7E28-6058-9D8501503274}"/>
          </ac:picMkLst>
        </pc:picChg>
        <pc:picChg chg="add mod">
          <ac:chgData name="Twila Cruickshank" userId="4e6a8caa-e860-4113-aa6e-ba9b52b14f7e" providerId="ADAL" clId="{71072DA8-F139-4CCE-A23F-D9ACB350D996}" dt="2025-11-18T20:59:10.624" v="7043" actId="14100"/>
          <ac:picMkLst>
            <pc:docMk/>
            <pc:sldMk cId="3128018412" sldId="2362"/>
            <ac:picMk id="9" creationId="{A8D666B6-24C7-DF3C-9C07-3F81D453ABF6}"/>
          </ac:picMkLst>
        </pc:picChg>
      </pc:sldChg>
      <pc:sldChg chg="modNotesTx">
        <pc:chgData name="Twila Cruickshank" userId="4e6a8caa-e860-4113-aa6e-ba9b52b14f7e" providerId="ADAL" clId="{71072DA8-F139-4CCE-A23F-D9ACB350D996}" dt="2025-11-19T19:00:40.164" v="12013" actId="20577"/>
        <pc:sldMkLst>
          <pc:docMk/>
          <pc:sldMk cId="3212901425" sldId="2365"/>
        </pc:sldMkLst>
      </pc:sldChg>
      <pc:sldChg chg="modNotesTx">
        <pc:chgData name="Twila Cruickshank" userId="4e6a8caa-e860-4113-aa6e-ba9b52b14f7e" providerId="ADAL" clId="{71072DA8-F139-4CCE-A23F-D9ACB350D996}" dt="2025-11-19T19:02:16.564" v="12034" actId="20577"/>
        <pc:sldMkLst>
          <pc:docMk/>
          <pc:sldMk cId="2974060182" sldId="2367"/>
        </pc:sldMkLst>
      </pc:sldChg>
      <pc:sldChg chg="modNotesTx">
        <pc:chgData name="Twila Cruickshank" userId="4e6a8caa-e860-4113-aa6e-ba9b52b14f7e" providerId="ADAL" clId="{71072DA8-F139-4CCE-A23F-D9ACB350D996}" dt="2025-11-19T19:16:09.125" v="12509" actId="20577"/>
        <pc:sldMkLst>
          <pc:docMk/>
          <pc:sldMk cId="1022146264" sldId="2376"/>
        </pc:sldMkLst>
      </pc:sldChg>
      <pc:sldChg chg="addSp delSp modSp mod modClrScheme chgLayout modNotesTx">
        <pc:chgData name="Twila Cruickshank" userId="4e6a8caa-e860-4113-aa6e-ba9b52b14f7e" providerId="ADAL" clId="{71072DA8-F139-4CCE-A23F-D9ACB350D996}" dt="2025-11-19T18:57:37.530" v="11920" actId="20577"/>
        <pc:sldMkLst>
          <pc:docMk/>
          <pc:sldMk cId="2414275170" sldId="2392"/>
        </pc:sldMkLst>
        <pc:spChg chg="add del mod ord">
          <ac:chgData name="Twila Cruickshank" userId="4e6a8caa-e860-4113-aa6e-ba9b52b14f7e" providerId="ADAL" clId="{71072DA8-F139-4CCE-A23F-D9ACB350D996}" dt="2025-11-18T22:56:52.727" v="7640" actId="700"/>
          <ac:spMkLst>
            <pc:docMk/>
            <pc:sldMk cId="2414275170" sldId="2392"/>
            <ac:spMk id="2" creationId="{BCD339B7-5612-81DB-E61B-B45169CEA539}"/>
          </ac:spMkLst>
        </pc:spChg>
        <pc:spChg chg="add del mod ord">
          <ac:chgData name="Twila Cruickshank" userId="4e6a8caa-e860-4113-aa6e-ba9b52b14f7e" providerId="ADAL" clId="{71072DA8-F139-4CCE-A23F-D9ACB350D996}" dt="2025-11-18T23:57:45.566" v="8593" actId="931"/>
          <ac:spMkLst>
            <pc:docMk/>
            <pc:sldMk cId="2414275170" sldId="2392"/>
            <ac:spMk id="3" creationId="{45DB9595-7B34-9DB1-39AB-BB7DE86482D1}"/>
          </ac:spMkLst>
        </pc:spChg>
        <pc:spChg chg="mod ord">
          <ac:chgData name="Twila Cruickshank" userId="4e6a8caa-e860-4113-aa6e-ba9b52b14f7e" providerId="ADAL" clId="{71072DA8-F139-4CCE-A23F-D9ACB350D996}" dt="2025-11-18T22:59:29.818" v="7641"/>
          <ac:spMkLst>
            <pc:docMk/>
            <pc:sldMk cId="2414275170" sldId="2392"/>
            <ac:spMk id="10" creationId="{29DE9EEE-BA73-504D-97F2-3AF01D6DE755}"/>
          </ac:spMkLst>
        </pc:spChg>
        <pc:picChg chg="add mod">
          <ac:chgData name="Twila Cruickshank" userId="4e6a8caa-e860-4113-aa6e-ba9b52b14f7e" providerId="ADAL" clId="{71072DA8-F139-4CCE-A23F-D9ACB350D996}" dt="2025-11-18T23:57:53.498" v="8597" actId="1076"/>
          <ac:picMkLst>
            <pc:docMk/>
            <pc:sldMk cId="2414275170" sldId="2392"/>
            <ac:picMk id="4" creationId="{A41F0117-F1A9-6E5E-D7EE-4FD779EFFC0D}"/>
          </ac:picMkLst>
        </pc:picChg>
        <pc:picChg chg="add del mod">
          <ac:chgData name="Twila Cruickshank" userId="4e6a8caa-e860-4113-aa6e-ba9b52b14f7e" providerId="ADAL" clId="{71072DA8-F139-4CCE-A23F-D9ACB350D996}" dt="2025-11-18T23:57:34.207" v="8592" actId="478"/>
          <ac:picMkLst>
            <pc:docMk/>
            <pc:sldMk cId="2414275170" sldId="2392"/>
            <ac:picMk id="5" creationId="{C709C424-1408-FBCF-802C-9C6A473730D2}"/>
          </ac:picMkLst>
        </pc:picChg>
        <pc:picChg chg="add mod modCrop">
          <ac:chgData name="Twila Cruickshank" userId="4e6a8caa-e860-4113-aa6e-ba9b52b14f7e" providerId="ADAL" clId="{71072DA8-F139-4CCE-A23F-D9ACB350D996}" dt="2025-11-18T20:58:57.707" v="7042" actId="14100"/>
          <ac:picMkLst>
            <pc:docMk/>
            <pc:sldMk cId="2414275170" sldId="2392"/>
            <ac:picMk id="8" creationId="{DCF009CE-E45F-6AFA-CBA7-D401726F1F07}"/>
          </ac:picMkLst>
        </pc:picChg>
      </pc:sldChg>
      <pc:sldChg chg="addSp delSp modSp add del mod modNotesTx">
        <pc:chgData name="Twila Cruickshank" userId="4e6a8caa-e860-4113-aa6e-ba9b52b14f7e" providerId="ADAL" clId="{71072DA8-F139-4CCE-A23F-D9ACB350D996}" dt="2025-11-19T18:58:54.973" v="11934" actId="6549"/>
        <pc:sldMkLst>
          <pc:docMk/>
          <pc:sldMk cId="1697632551" sldId="2393"/>
        </pc:sldMkLst>
        <pc:picChg chg="add mod">
          <ac:chgData name="Twila Cruickshank" userId="4e6a8caa-e860-4113-aa6e-ba9b52b14f7e" providerId="ADAL" clId="{71072DA8-F139-4CCE-A23F-D9ACB350D996}" dt="2025-11-17T19:38:18.964" v="2851" actId="14100"/>
          <ac:picMkLst>
            <pc:docMk/>
            <pc:sldMk cId="1697632551" sldId="2393"/>
            <ac:picMk id="3" creationId="{3935F4E3-489F-A736-8CC9-0880E590181D}"/>
          </ac:picMkLst>
        </pc:picChg>
        <pc:picChg chg="add mod modCrop">
          <ac:chgData name="Twila Cruickshank" userId="4e6a8caa-e860-4113-aa6e-ba9b52b14f7e" providerId="ADAL" clId="{71072DA8-F139-4CCE-A23F-D9ACB350D996}" dt="2025-11-13T18:49:00.934" v="208" actId="1076"/>
          <ac:picMkLst>
            <pc:docMk/>
            <pc:sldMk cId="1697632551" sldId="2393"/>
            <ac:picMk id="5" creationId="{81664591-EEA6-485D-97B1-62D0AC923509}"/>
          </ac:picMkLst>
        </pc:picChg>
      </pc:sldChg>
      <pc:sldChg chg="addSp delSp modSp mod modNotesTx">
        <pc:chgData name="Twila Cruickshank" userId="4e6a8caa-e860-4113-aa6e-ba9b52b14f7e" providerId="ADAL" clId="{71072DA8-F139-4CCE-A23F-D9ACB350D996}" dt="2025-11-18T21:02:32.579" v="7050" actId="14100"/>
        <pc:sldMkLst>
          <pc:docMk/>
          <pc:sldMk cId="3049617548" sldId="2394"/>
        </pc:sldMkLst>
        <pc:spChg chg="mod">
          <ac:chgData name="Twila Cruickshank" userId="4e6a8caa-e860-4113-aa6e-ba9b52b14f7e" providerId="ADAL" clId="{71072DA8-F139-4CCE-A23F-D9ACB350D996}" dt="2025-11-13T18:50:17.378" v="235" actId="20577"/>
          <ac:spMkLst>
            <pc:docMk/>
            <pc:sldMk cId="3049617548" sldId="2394"/>
            <ac:spMk id="23" creationId="{189A81E7-FE0D-4632-D325-2DD1837DEFD5}"/>
          </ac:spMkLst>
        </pc:spChg>
        <pc:spChg chg="mod">
          <ac:chgData name="Twila Cruickshank" userId="4e6a8caa-e860-4113-aa6e-ba9b52b14f7e" providerId="ADAL" clId="{71072DA8-F139-4CCE-A23F-D9ACB350D996}" dt="2025-11-13T18:50:27.550" v="237" actId="20577"/>
          <ac:spMkLst>
            <pc:docMk/>
            <pc:sldMk cId="3049617548" sldId="2394"/>
            <ac:spMk id="24" creationId="{B65BA85B-40A7-31C2-75C9-E0850A8E9B2B}"/>
          </ac:spMkLst>
        </pc:spChg>
        <pc:grpChg chg="mod">
          <ac:chgData name="Twila Cruickshank" userId="4e6a8caa-e860-4113-aa6e-ba9b52b14f7e" providerId="ADAL" clId="{71072DA8-F139-4CCE-A23F-D9ACB350D996}" dt="2025-11-17T19:38:42.305" v="2854" actId="14100"/>
          <ac:grpSpMkLst>
            <pc:docMk/>
            <pc:sldMk cId="3049617548" sldId="2394"/>
            <ac:grpSpMk id="29" creationId="{E1A53D48-6027-B98A-1DA3-9434FC190256}"/>
          </ac:grpSpMkLst>
        </pc:grpChg>
        <pc:picChg chg="add mod">
          <ac:chgData name="Twila Cruickshank" userId="4e6a8caa-e860-4113-aa6e-ba9b52b14f7e" providerId="ADAL" clId="{71072DA8-F139-4CCE-A23F-D9ACB350D996}" dt="2025-11-18T21:02:32.579" v="7050" actId="14100"/>
          <ac:picMkLst>
            <pc:docMk/>
            <pc:sldMk cId="3049617548" sldId="2394"/>
            <ac:picMk id="3" creationId="{73A3D3AA-DEA4-B91A-A480-B05D31C13D54}"/>
          </ac:picMkLst>
        </pc:picChg>
        <pc:picChg chg="add del mod">
          <ac:chgData name="Twila Cruickshank" userId="4e6a8caa-e860-4113-aa6e-ba9b52b14f7e" providerId="ADAL" clId="{71072DA8-F139-4CCE-A23F-D9ACB350D996}" dt="2025-11-18T21:01:44.591" v="7044" actId="478"/>
          <ac:picMkLst>
            <pc:docMk/>
            <pc:sldMk cId="3049617548" sldId="2394"/>
            <ac:picMk id="17" creationId="{703FF7B6-71CA-B91F-ACA5-6E6333A32D2E}"/>
          </ac:picMkLst>
        </pc:picChg>
      </pc:sldChg>
      <pc:sldChg chg="addSp delSp modSp mod ord modShow modNotesTx">
        <pc:chgData name="Twila Cruickshank" userId="4e6a8caa-e860-4113-aa6e-ba9b52b14f7e" providerId="ADAL" clId="{71072DA8-F139-4CCE-A23F-D9ACB350D996}" dt="2025-11-19T22:41:00.842" v="12679" actId="20577"/>
        <pc:sldMkLst>
          <pc:docMk/>
          <pc:sldMk cId="862479357" sldId="2397"/>
        </pc:sldMkLst>
        <pc:spChg chg="mod">
          <ac:chgData name="Twila Cruickshank" userId="4e6a8caa-e860-4113-aa6e-ba9b52b14f7e" providerId="ADAL" clId="{71072DA8-F139-4CCE-A23F-D9ACB350D996}" dt="2025-11-18T20:18:30.048" v="6856" actId="1076"/>
          <ac:spMkLst>
            <pc:docMk/>
            <pc:sldMk cId="862479357" sldId="2397"/>
            <ac:spMk id="2" creationId="{497AEC7C-E53C-F754-642A-BA5E1F6F8ECC}"/>
          </ac:spMkLst>
        </pc:spChg>
        <pc:spChg chg="mod">
          <ac:chgData name="Twila Cruickshank" userId="4e6a8caa-e860-4113-aa6e-ba9b52b14f7e" providerId="ADAL" clId="{71072DA8-F139-4CCE-A23F-D9ACB350D996}" dt="2025-11-19T22:41:00.842" v="12679" actId="20577"/>
          <ac:spMkLst>
            <pc:docMk/>
            <pc:sldMk cId="862479357" sldId="2397"/>
            <ac:spMk id="3" creationId="{7F266338-36D0-C93F-8EEA-E77F0F079D2E}"/>
          </ac:spMkLst>
        </pc:spChg>
        <pc:spChg chg="mod">
          <ac:chgData name="Twila Cruickshank" userId="4e6a8caa-e860-4113-aa6e-ba9b52b14f7e" providerId="ADAL" clId="{71072DA8-F139-4CCE-A23F-D9ACB350D996}" dt="2025-11-18T16:45:13.083" v="6676" actId="14100"/>
          <ac:spMkLst>
            <pc:docMk/>
            <pc:sldMk cId="862479357" sldId="2397"/>
            <ac:spMk id="6" creationId="{08B27175-31A5-BC9E-8AF4-59569113ABFE}"/>
          </ac:spMkLst>
        </pc:spChg>
        <pc:spChg chg="mod">
          <ac:chgData name="Twila Cruickshank" userId="4e6a8caa-e860-4113-aa6e-ba9b52b14f7e" providerId="ADAL" clId="{71072DA8-F139-4CCE-A23F-D9ACB350D996}" dt="2025-11-18T16:05:37.393" v="6051" actId="6549"/>
          <ac:spMkLst>
            <pc:docMk/>
            <pc:sldMk cId="862479357" sldId="2397"/>
            <ac:spMk id="10" creationId="{29DE9EEE-BA73-504D-97F2-3AF01D6DE755}"/>
          </ac:spMkLst>
        </pc:spChg>
        <pc:spChg chg="mod">
          <ac:chgData name="Twila Cruickshank" userId="4e6a8caa-e860-4113-aa6e-ba9b52b14f7e" providerId="ADAL" clId="{71072DA8-F139-4CCE-A23F-D9ACB350D996}" dt="2025-11-18T16:35:13.274" v="6640" actId="20577"/>
          <ac:spMkLst>
            <pc:docMk/>
            <pc:sldMk cId="862479357" sldId="2397"/>
            <ac:spMk id="27" creationId="{DEA3A3FA-0489-F0C1-B36D-7C10342AD292}"/>
          </ac:spMkLst>
        </pc:spChg>
        <pc:spChg chg="mod">
          <ac:chgData name="Twila Cruickshank" userId="4e6a8caa-e860-4113-aa6e-ba9b52b14f7e" providerId="ADAL" clId="{71072DA8-F139-4CCE-A23F-D9ACB350D996}" dt="2025-11-18T16:44:30.061" v="6670" actId="313"/>
          <ac:spMkLst>
            <pc:docMk/>
            <pc:sldMk cId="862479357" sldId="2397"/>
            <ac:spMk id="30" creationId="{D69990C4-B630-6B68-165A-3D9EBC0E6F11}"/>
          </ac:spMkLst>
        </pc:spChg>
        <pc:graphicFrameChg chg="del">
          <ac:chgData name="Twila Cruickshank" userId="4e6a8caa-e860-4113-aa6e-ba9b52b14f7e" providerId="ADAL" clId="{71072DA8-F139-4CCE-A23F-D9ACB350D996}" dt="2025-11-18T16:38:11.826" v="6653" actId="478"/>
          <ac:graphicFrameMkLst>
            <pc:docMk/>
            <pc:sldMk cId="862479357" sldId="2397"/>
            <ac:graphicFrameMk id="5" creationId="{BF1FB497-53D5-075C-1DA3-41C9BA35F06E}"/>
          </ac:graphicFrameMkLst>
        </pc:graphicFrameChg>
        <pc:graphicFrameChg chg="add del mod">
          <ac:chgData name="Twila Cruickshank" userId="4e6a8caa-e860-4113-aa6e-ba9b52b14f7e" providerId="ADAL" clId="{71072DA8-F139-4CCE-A23F-D9ACB350D996}" dt="2025-11-18T20:19:42.586" v="6859" actId="478"/>
          <ac:graphicFrameMkLst>
            <pc:docMk/>
            <pc:sldMk cId="862479357" sldId="2397"/>
            <ac:graphicFrameMk id="7" creationId="{A215D19B-FB9F-12B4-A04F-EF093036E873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8T20:22:47.640" v="6869"/>
          <ac:graphicFrameMkLst>
            <pc:docMk/>
            <pc:sldMk cId="862479357" sldId="2397"/>
            <ac:graphicFrameMk id="8" creationId="{A215D19B-FB9F-12B4-A04F-EF093036E873}"/>
          </ac:graphicFrameMkLst>
        </pc:graphicFrameChg>
      </pc:sldChg>
      <pc:sldChg chg="addSp delSp modSp mod ord modShow modNotesTx">
        <pc:chgData name="Twila Cruickshank" userId="4e6a8caa-e860-4113-aa6e-ba9b52b14f7e" providerId="ADAL" clId="{71072DA8-F139-4CCE-A23F-D9ACB350D996}" dt="2025-11-19T19:08:57.527" v="12292" actId="207"/>
        <pc:sldMkLst>
          <pc:docMk/>
          <pc:sldMk cId="2840008984" sldId="2398"/>
        </pc:sldMkLst>
        <pc:spChg chg="mod">
          <ac:chgData name="Twila Cruickshank" userId="4e6a8caa-e860-4113-aa6e-ba9b52b14f7e" providerId="ADAL" clId="{71072DA8-F139-4CCE-A23F-D9ACB350D996}" dt="2025-11-18T23:17:20.564" v="8198" actId="20577"/>
          <ac:spMkLst>
            <pc:docMk/>
            <pc:sldMk cId="2840008984" sldId="2398"/>
            <ac:spMk id="2" creationId="{497AEC7C-E53C-F754-642A-BA5E1F6F8ECC}"/>
          </ac:spMkLst>
        </pc:spChg>
        <pc:spChg chg="add mod">
          <ac:chgData name="Twila Cruickshank" userId="4e6a8caa-e860-4113-aa6e-ba9b52b14f7e" providerId="ADAL" clId="{71072DA8-F139-4CCE-A23F-D9ACB350D996}" dt="2025-11-19T19:08:57.527" v="12292" actId="207"/>
          <ac:spMkLst>
            <pc:docMk/>
            <pc:sldMk cId="2840008984" sldId="2398"/>
            <ac:spMk id="3" creationId="{E3501639-3B33-DDB1-23B4-415C92891897}"/>
          </ac:spMkLst>
        </pc:spChg>
        <pc:spChg chg="mod">
          <ac:chgData name="Twila Cruickshank" userId="4e6a8caa-e860-4113-aa6e-ba9b52b14f7e" providerId="ADAL" clId="{71072DA8-F139-4CCE-A23F-D9ACB350D996}" dt="2025-11-18T00:25:29.585" v="5469" actId="20577"/>
          <ac:spMkLst>
            <pc:docMk/>
            <pc:sldMk cId="2840008984" sldId="2398"/>
            <ac:spMk id="6" creationId="{08B27175-31A5-BC9E-8AF4-59569113ABFE}"/>
          </ac:spMkLst>
        </pc:spChg>
        <pc:spChg chg="mod">
          <ac:chgData name="Twila Cruickshank" userId="4e6a8caa-e860-4113-aa6e-ba9b52b14f7e" providerId="ADAL" clId="{71072DA8-F139-4CCE-A23F-D9ACB350D996}" dt="2025-11-18T19:55:05.745" v="6767" actId="6549"/>
          <ac:spMkLst>
            <pc:docMk/>
            <pc:sldMk cId="2840008984" sldId="2398"/>
            <ac:spMk id="10" creationId="{29DE9EEE-BA73-504D-97F2-3AF01D6DE755}"/>
          </ac:spMkLst>
        </pc:spChg>
        <pc:spChg chg="mod">
          <ac:chgData name="Twila Cruickshank" userId="4e6a8caa-e860-4113-aa6e-ba9b52b14f7e" providerId="ADAL" clId="{71072DA8-F139-4CCE-A23F-D9ACB350D996}" dt="2025-11-19T18:43:59.814" v="11350" actId="6549"/>
          <ac:spMkLst>
            <pc:docMk/>
            <pc:sldMk cId="2840008984" sldId="2398"/>
            <ac:spMk id="11" creationId="{57AF965E-5738-B1BC-908D-3A37F1BD00FD}"/>
          </ac:spMkLst>
        </pc:spChg>
        <pc:spChg chg="mod">
          <ac:chgData name="Twila Cruickshank" userId="4e6a8caa-e860-4113-aa6e-ba9b52b14f7e" providerId="ADAL" clId="{71072DA8-F139-4CCE-A23F-D9ACB350D996}" dt="2025-11-18T20:01:52.331" v="6770" actId="20577"/>
          <ac:spMkLst>
            <pc:docMk/>
            <pc:sldMk cId="2840008984" sldId="2398"/>
            <ac:spMk id="30" creationId="{D69990C4-B630-6B68-165A-3D9EBC0E6F11}"/>
          </ac:spMkLst>
        </pc:spChg>
        <pc:graphicFrameChg chg="del">
          <ac:chgData name="Twila Cruickshank" userId="4e6a8caa-e860-4113-aa6e-ba9b52b14f7e" providerId="ADAL" clId="{71072DA8-F139-4CCE-A23F-D9ACB350D996}" dt="2025-11-18T19:56:29.555" v="6769" actId="478"/>
          <ac:graphicFrameMkLst>
            <pc:docMk/>
            <pc:sldMk cId="2840008984" sldId="2398"/>
            <ac:graphicFrameMk id="3" creationId="{4286FCC0-FBD8-B673-A094-40982587D302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8T20:22:28.387" v="6868"/>
          <ac:graphicFrameMkLst>
            <pc:docMk/>
            <pc:sldMk cId="2840008984" sldId="2398"/>
            <ac:graphicFrameMk id="7" creationId="{9C5E7ED8-1387-8BDE-93C8-11DB5012A9B1}"/>
          </ac:graphicFrameMkLst>
        </pc:graphicFrameChg>
        <pc:picChg chg="add del mod">
          <ac:chgData name="Twila Cruickshank" userId="4e6a8caa-e860-4113-aa6e-ba9b52b14f7e" providerId="ADAL" clId="{71072DA8-F139-4CCE-A23F-D9ACB350D996}" dt="2025-11-19T19:08:04.246" v="12281" actId="478"/>
          <ac:picMkLst>
            <pc:docMk/>
            <pc:sldMk cId="2840008984" sldId="2398"/>
            <ac:picMk id="5" creationId="{274C7EEB-C15F-540E-E606-4D4E5B076D25}"/>
          </ac:picMkLst>
        </pc:picChg>
        <pc:picChg chg="add mod">
          <ac:chgData name="Twila Cruickshank" userId="4e6a8caa-e860-4113-aa6e-ba9b52b14f7e" providerId="ADAL" clId="{71072DA8-F139-4CCE-A23F-D9ACB350D996}" dt="2025-11-19T19:08:25.800" v="12288" actId="14100"/>
          <ac:picMkLst>
            <pc:docMk/>
            <pc:sldMk cId="2840008984" sldId="2398"/>
            <ac:picMk id="8" creationId="{19F97F62-1FC9-DFCC-07D9-91E44F1C3CD3}"/>
          </ac:picMkLst>
        </pc:picChg>
        <pc:picChg chg="del">
          <ac:chgData name="Twila Cruickshank" userId="4e6a8caa-e860-4113-aa6e-ba9b52b14f7e" providerId="ADAL" clId="{71072DA8-F139-4CCE-A23F-D9ACB350D996}" dt="2025-11-18T16:20:37.327" v="6416" actId="478"/>
          <ac:picMkLst>
            <pc:docMk/>
            <pc:sldMk cId="2840008984" sldId="2398"/>
            <ac:picMk id="8" creationId="{815F71B5-B3FD-4AED-F8D5-0511FC121D01}"/>
          </ac:picMkLst>
        </pc:picChg>
      </pc:sldChg>
      <pc:sldChg chg="addSp delSp modSp mod ord modNotesTx">
        <pc:chgData name="Twila Cruickshank" userId="4e6a8caa-e860-4113-aa6e-ba9b52b14f7e" providerId="ADAL" clId="{71072DA8-F139-4CCE-A23F-D9ACB350D996}" dt="2025-11-18T20:30:27.054" v="6951" actId="20577"/>
        <pc:sldMkLst>
          <pc:docMk/>
          <pc:sldMk cId="1065457140" sldId="2399"/>
        </pc:sldMkLst>
        <pc:spChg chg="mod">
          <ac:chgData name="Twila Cruickshank" userId="4e6a8caa-e860-4113-aa6e-ba9b52b14f7e" providerId="ADAL" clId="{71072DA8-F139-4CCE-A23F-D9ACB350D996}" dt="2025-11-17T23:43:50.799" v="4971" actId="12"/>
          <ac:spMkLst>
            <pc:docMk/>
            <pc:sldMk cId="1065457140" sldId="2399"/>
            <ac:spMk id="4" creationId="{65BC9E24-0AEC-290B-659E-74DB7D829D96}"/>
          </ac:spMkLst>
        </pc:spChg>
        <pc:spChg chg="mod">
          <ac:chgData name="Twila Cruickshank" userId="4e6a8caa-e860-4113-aa6e-ba9b52b14f7e" providerId="ADAL" clId="{71072DA8-F139-4CCE-A23F-D9ACB350D996}" dt="2025-11-17T23:42:19.220" v="4906" actId="20577"/>
          <ac:spMkLst>
            <pc:docMk/>
            <pc:sldMk cId="1065457140" sldId="2399"/>
            <ac:spMk id="10" creationId="{29DE9EEE-BA73-504D-97F2-3AF01D6DE755}"/>
          </ac:spMkLst>
        </pc:spChg>
        <pc:spChg chg="mod">
          <ac:chgData name="Twila Cruickshank" userId="4e6a8caa-e860-4113-aa6e-ba9b52b14f7e" providerId="ADAL" clId="{71072DA8-F139-4CCE-A23F-D9ACB350D996}" dt="2025-11-17T23:41:19.702" v="4868" actId="20577"/>
          <ac:spMkLst>
            <pc:docMk/>
            <pc:sldMk cId="1065457140" sldId="2399"/>
            <ac:spMk id="47" creationId="{69203E62-EEFD-035B-ED9A-A4DA0DA1AC88}"/>
          </ac:spMkLst>
        </pc:spChg>
        <pc:spChg chg="mod">
          <ac:chgData name="Twila Cruickshank" userId="4e6a8caa-e860-4113-aa6e-ba9b52b14f7e" providerId="ADAL" clId="{71072DA8-F139-4CCE-A23F-D9ACB350D996}" dt="2025-11-17T23:41:01.588" v="4858" actId="20577"/>
          <ac:spMkLst>
            <pc:docMk/>
            <pc:sldMk cId="1065457140" sldId="2399"/>
            <ac:spMk id="50" creationId="{ED1AB055-7364-86CB-0933-7F50C4D4EF41}"/>
          </ac:spMkLst>
        </pc:spChg>
        <pc:spChg chg="mod">
          <ac:chgData name="Twila Cruickshank" userId="4e6a8caa-e860-4113-aa6e-ba9b52b14f7e" providerId="ADAL" clId="{71072DA8-F139-4CCE-A23F-D9ACB350D996}" dt="2025-11-17T23:41:11.148" v="4863" actId="20577"/>
          <ac:spMkLst>
            <pc:docMk/>
            <pc:sldMk cId="1065457140" sldId="2399"/>
            <ac:spMk id="51" creationId="{4A36D835-B0C3-B02D-C635-6C1A6D3FFAA9}"/>
          </ac:spMkLst>
        </pc:spChg>
        <pc:picChg chg="add mod">
          <ac:chgData name="Twila Cruickshank" userId="4e6a8caa-e860-4113-aa6e-ba9b52b14f7e" providerId="ADAL" clId="{71072DA8-F139-4CCE-A23F-D9ACB350D996}" dt="2025-11-17T19:35:09.018" v="2801" actId="14100"/>
          <ac:picMkLst>
            <pc:docMk/>
            <pc:sldMk cId="1065457140" sldId="2399"/>
            <ac:picMk id="3" creationId="{98FAB8FC-B890-2E91-721B-BCCAADBAD6F1}"/>
          </ac:picMkLst>
        </pc:picChg>
        <pc:picChg chg="add mod">
          <ac:chgData name="Twila Cruickshank" userId="4e6a8caa-e860-4113-aa6e-ba9b52b14f7e" providerId="ADAL" clId="{71072DA8-F139-4CCE-A23F-D9ACB350D996}" dt="2025-11-17T19:35:40.162" v="2812" actId="14100"/>
          <ac:picMkLst>
            <pc:docMk/>
            <pc:sldMk cId="1065457140" sldId="2399"/>
            <ac:picMk id="6" creationId="{872B76ED-2A28-90DA-C40F-F1F7CAFD065B}"/>
          </ac:picMkLst>
        </pc:picChg>
        <pc:picChg chg="add mod">
          <ac:chgData name="Twila Cruickshank" userId="4e6a8caa-e860-4113-aa6e-ba9b52b14f7e" providerId="ADAL" clId="{71072DA8-F139-4CCE-A23F-D9ACB350D996}" dt="2025-11-17T19:36:17.514" v="2824" actId="14100"/>
          <ac:picMkLst>
            <pc:docMk/>
            <pc:sldMk cId="1065457140" sldId="2399"/>
            <ac:picMk id="8" creationId="{CDDC147F-63AB-0471-0553-8802A9D0E4FB}"/>
          </ac:picMkLst>
        </pc:picChg>
      </pc:sldChg>
      <pc:sldChg chg="addSp delSp modSp mod modNotesTx">
        <pc:chgData name="Twila Cruickshank" userId="4e6a8caa-e860-4113-aa6e-ba9b52b14f7e" providerId="ADAL" clId="{71072DA8-F139-4CCE-A23F-D9ACB350D996}" dt="2025-11-19T19:15:17.122" v="12502" actId="20577"/>
        <pc:sldMkLst>
          <pc:docMk/>
          <pc:sldMk cId="250038693" sldId="2400"/>
        </pc:sldMkLst>
        <pc:spChg chg="mod">
          <ac:chgData name="Twila Cruickshank" userId="4e6a8caa-e860-4113-aa6e-ba9b52b14f7e" providerId="ADAL" clId="{71072DA8-F139-4CCE-A23F-D9ACB350D996}" dt="2025-11-19T19:15:17.122" v="12502" actId="20577"/>
          <ac:spMkLst>
            <pc:docMk/>
            <pc:sldMk cId="250038693" sldId="2400"/>
            <ac:spMk id="3" creationId="{D6C951C1-8DC0-F0AF-C41A-0C848A46B627}"/>
          </ac:spMkLst>
        </pc:spChg>
        <pc:spChg chg="mod">
          <ac:chgData name="Twila Cruickshank" userId="4e6a8caa-e860-4113-aa6e-ba9b52b14f7e" providerId="ADAL" clId="{71072DA8-F139-4CCE-A23F-D9ACB350D996}" dt="2025-11-19T00:08:06.415" v="8666" actId="6549"/>
          <ac:spMkLst>
            <pc:docMk/>
            <pc:sldMk cId="250038693" sldId="2400"/>
            <ac:spMk id="9" creationId="{D48F0544-6030-2EF7-10D6-3D93B632F1BC}"/>
          </ac:spMkLst>
        </pc:spChg>
        <pc:spChg chg="mod">
          <ac:chgData name="Twila Cruickshank" userId="4e6a8caa-e860-4113-aa6e-ba9b52b14f7e" providerId="ADAL" clId="{71072DA8-F139-4CCE-A23F-D9ACB350D996}" dt="2025-11-19T19:14:03.784" v="12493" actId="6549"/>
          <ac:spMkLst>
            <pc:docMk/>
            <pc:sldMk cId="250038693" sldId="2400"/>
            <ac:spMk id="10" creationId="{29DE9EEE-BA73-504D-97F2-3AF01D6DE755}"/>
          </ac:spMkLst>
        </pc:spChg>
        <pc:spChg chg="mod">
          <ac:chgData name="Twila Cruickshank" userId="4e6a8caa-e860-4113-aa6e-ba9b52b14f7e" providerId="ADAL" clId="{71072DA8-F139-4CCE-A23F-D9ACB350D996}" dt="2025-11-19T00:08:32.878" v="8669" actId="6549"/>
          <ac:spMkLst>
            <pc:docMk/>
            <pc:sldMk cId="250038693" sldId="2400"/>
            <ac:spMk id="11" creationId="{0208B550-4F45-BE1B-D91F-E72287EA0212}"/>
          </ac:spMkLst>
        </pc:spChg>
        <pc:spChg chg="mod">
          <ac:chgData name="Twila Cruickshank" userId="4e6a8caa-e860-4113-aa6e-ba9b52b14f7e" providerId="ADAL" clId="{71072DA8-F139-4CCE-A23F-D9ACB350D996}" dt="2025-11-19T00:13:15.804" v="8766" actId="20577"/>
          <ac:spMkLst>
            <pc:docMk/>
            <pc:sldMk cId="250038693" sldId="2400"/>
            <ac:spMk id="13" creationId="{82D054F9-7DDC-CA3F-CD90-7203B24B7CE9}"/>
          </ac:spMkLst>
        </pc:spChg>
        <pc:spChg chg="mod">
          <ac:chgData name="Twila Cruickshank" userId="4e6a8caa-e860-4113-aa6e-ba9b52b14f7e" providerId="ADAL" clId="{71072DA8-F139-4CCE-A23F-D9ACB350D996}" dt="2025-11-19T00:28:31.810" v="8894" actId="20577"/>
          <ac:spMkLst>
            <pc:docMk/>
            <pc:sldMk cId="250038693" sldId="2400"/>
            <ac:spMk id="30" creationId="{D69990C4-B630-6B68-165A-3D9EBC0E6F11}"/>
          </ac:spMkLst>
        </pc:spChg>
        <pc:graphicFrameChg chg="del">
          <ac:chgData name="Twila Cruickshank" userId="4e6a8caa-e860-4113-aa6e-ba9b52b14f7e" providerId="ADAL" clId="{71072DA8-F139-4CCE-A23F-D9ACB350D996}" dt="2025-11-19T00:28:11.090" v="8890" actId="478"/>
          <ac:graphicFrameMkLst>
            <pc:docMk/>
            <pc:sldMk cId="250038693" sldId="2400"/>
            <ac:graphicFrameMk id="2" creationId="{6C340294-EB82-BCFB-4644-BC26946B709A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9T00:28:26.123" v="8893" actId="1076"/>
          <ac:graphicFrameMkLst>
            <pc:docMk/>
            <pc:sldMk cId="250038693" sldId="2400"/>
            <ac:graphicFrameMk id="17" creationId="{AA9E438A-D4BB-F474-62DF-0A320F29555D}"/>
          </ac:graphicFrameMkLst>
        </pc:graphicFrameChg>
        <pc:picChg chg="add del mod">
          <ac:chgData name="Twila Cruickshank" userId="4e6a8caa-e860-4113-aa6e-ba9b52b14f7e" providerId="ADAL" clId="{71072DA8-F139-4CCE-A23F-D9ACB350D996}" dt="2025-11-19T01:24:29.265" v="9496" actId="478"/>
          <ac:picMkLst>
            <pc:docMk/>
            <pc:sldMk cId="250038693" sldId="2400"/>
            <ac:picMk id="6" creationId="{C769CB5C-5403-4EDD-A656-F46F821F2A3D}"/>
          </ac:picMkLst>
        </pc:picChg>
        <pc:picChg chg="add mod">
          <ac:chgData name="Twila Cruickshank" userId="4e6a8caa-e860-4113-aa6e-ba9b52b14f7e" providerId="ADAL" clId="{71072DA8-F139-4CCE-A23F-D9ACB350D996}" dt="2025-11-19T00:15:30.397" v="8776" actId="14100"/>
          <ac:picMkLst>
            <pc:docMk/>
            <pc:sldMk cId="250038693" sldId="2400"/>
            <ac:picMk id="15" creationId="{CE2D95FE-1215-53C7-9151-54E077FCA1C5}"/>
          </ac:picMkLst>
        </pc:picChg>
        <pc:picChg chg="del">
          <ac:chgData name="Twila Cruickshank" userId="4e6a8caa-e860-4113-aa6e-ba9b52b14f7e" providerId="ADAL" clId="{71072DA8-F139-4CCE-A23F-D9ACB350D996}" dt="2025-11-19T00:07:20.836" v="8657" actId="478"/>
          <ac:picMkLst>
            <pc:docMk/>
            <pc:sldMk cId="250038693" sldId="2400"/>
            <ac:picMk id="16" creationId="{2EE2E295-8BAF-0932-6A47-F6285377682D}"/>
          </ac:picMkLst>
        </pc:picChg>
        <pc:picChg chg="add mod">
          <ac:chgData name="Twila Cruickshank" userId="4e6a8caa-e860-4113-aa6e-ba9b52b14f7e" providerId="ADAL" clId="{71072DA8-F139-4CCE-A23F-D9ACB350D996}" dt="2025-11-19T01:25:11.631" v="9505" actId="14100"/>
          <ac:picMkLst>
            <pc:docMk/>
            <pc:sldMk cId="250038693" sldId="2400"/>
            <ac:picMk id="19" creationId="{2C6AC871-F068-CA2C-E23C-D2870E0EDC6C}"/>
          </ac:picMkLst>
        </pc:picChg>
      </pc:sldChg>
      <pc:sldChg chg="modSp mod ord modNotesTx">
        <pc:chgData name="Twila Cruickshank" userId="4e6a8caa-e860-4113-aa6e-ba9b52b14f7e" providerId="ADAL" clId="{71072DA8-F139-4CCE-A23F-D9ACB350D996}" dt="2025-11-19T19:17:08.713" v="12515" actId="20577"/>
        <pc:sldMkLst>
          <pc:docMk/>
          <pc:sldMk cId="972139474" sldId="2404"/>
        </pc:sldMkLst>
        <pc:spChg chg="mod">
          <ac:chgData name="Twila Cruickshank" userId="4e6a8caa-e860-4113-aa6e-ba9b52b14f7e" providerId="ADAL" clId="{71072DA8-F139-4CCE-A23F-D9ACB350D996}" dt="2025-11-14T21:01:32.233" v="1005" actId="14100"/>
          <ac:spMkLst>
            <pc:docMk/>
            <pc:sldMk cId="972139474" sldId="2404"/>
            <ac:spMk id="88" creationId="{70103279-6C64-9B2C-5031-2166980F7E94}"/>
          </ac:spMkLst>
        </pc:spChg>
        <pc:cxnChg chg="mod">
          <ac:chgData name="Twila Cruickshank" userId="4e6a8caa-e860-4113-aa6e-ba9b52b14f7e" providerId="ADAL" clId="{71072DA8-F139-4CCE-A23F-D9ACB350D996}" dt="2025-11-14T21:01:32.233" v="1005" actId="14100"/>
          <ac:cxnSpMkLst>
            <pc:docMk/>
            <pc:sldMk cId="972139474" sldId="2404"/>
            <ac:cxnSpMk id="130" creationId="{E90E19E5-27CB-FB8A-661A-9F21C25D9F7C}"/>
          </ac:cxnSpMkLst>
        </pc:cxnChg>
        <pc:cxnChg chg="mod">
          <ac:chgData name="Twila Cruickshank" userId="4e6a8caa-e860-4113-aa6e-ba9b52b14f7e" providerId="ADAL" clId="{71072DA8-F139-4CCE-A23F-D9ACB350D996}" dt="2025-11-14T21:01:32.233" v="1005" actId="14100"/>
          <ac:cxnSpMkLst>
            <pc:docMk/>
            <pc:sldMk cId="972139474" sldId="2404"/>
            <ac:cxnSpMk id="136" creationId="{0C2F5465-5086-912A-AC17-F5990110F65C}"/>
          </ac:cxnSpMkLst>
        </pc:cxnChg>
      </pc:sldChg>
      <pc:sldChg chg="modNotesTx">
        <pc:chgData name="Twila Cruickshank" userId="4e6a8caa-e860-4113-aa6e-ba9b52b14f7e" providerId="ADAL" clId="{71072DA8-F139-4CCE-A23F-D9ACB350D996}" dt="2025-11-19T19:22:38.249" v="12548" actId="20577"/>
        <pc:sldMkLst>
          <pc:docMk/>
          <pc:sldMk cId="1338712324" sldId="2405"/>
        </pc:sldMkLst>
      </pc:sldChg>
      <pc:sldChg chg="modSp mod modNotesTx">
        <pc:chgData name="Twila Cruickshank" userId="4e6a8caa-e860-4113-aa6e-ba9b52b14f7e" providerId="ADAL" clId="{71072DA8-F139-4CCE-A23F-D9ACB350D996}" dt="2025-11-19T19:18:41.935" v="12535" actId="20577"/>
        <pc:sldMkLst>
          <pc:docMk/>
          <pc:sldMk cId="2009679662" sldId="2408"/>
        </pc:sldMkLst>
        <pc:spChg chg="mod">
          <ac:chgData name="Twila Cruickshank" userId="4e6a8caa-e860-4113-aa6e-ba9b52b14f7e" providerId="ADAL" clId="{71072DA8-F139-4CCE-A23F-D9ACB350D996}" dt="2025-11-18T14:56:45.899" v="5950" actId="14100"/>
          <ac:spMkLst>
            <pc:docMk/>
            <pc:sldMk cId="2009679662" sldId="2408"/>
            <ac:spMk id="6" creationId="{5809501D-A40F-C4C9-8B8E-051A2E1ECFB9}"/>
          </ac:spMkLst>
        </pc:spChg>
        <pc:spChg chg="mod">
          <ac:chgData name="Twila Cruickshank" userId="4e6a8caa-e860-4113-aa6e-ba9b52b14f7e" providerId="ADAL" clId="{71072DA8-F139-4CCE-A23F-D9ACB350D996}" dt="2025-11-18T14:56:50.373" v="5951" actId="14100"/>
          <ac:spMkLst>
            <pc:docMk/>
            <pc:sldMk cId="2009679662" sldId="2408"/>
            <ac:spMk id="7" creationId="{CD8A4805-AED3-C016-909C-C2D3A89B4EEC}"/>
          </ac:spMkLst>
        </pc:spChg>
        <pc:spChg chg="mod">
          <ac:chgData name="Twila Cruickshank" userId="4e6a8caa-e860-4113-aa6e-ba9b52b14f7e" providerId="ADAL" clId="{71072DA8-F139-4CCE-A23F-D9ACB350D996}" dt="2025-11-18T14:59:47.746" v="5982" actId="6549"/>
          <ac:spMkLst>
            <pc:docMk/>
            <pc:sldMk cId="2009679662" sldId="2408"/>
            <ac:spMk id="10" creationId="{29DE9EEE-BA73-504D-97F2-3AF01D6DE755}"/>
          </ac:spMkLst>
        </pc:spChg>
        <pc:graphicFrameChg chg="modGraphic">
          <ac:chgData name="Twila Cruickshank" userId="4e6a8caa-e860-4113-aa6e-ba9b52b14f7e" providerId="ADAL" clId="{71072DA8-F139-4CCE-A23F-D9ACB350D996}" dt="2025-11-18T14:56:36.685" v="5949" actId="20577"/>
          <ac:graphicFrameMkLst>
            <pc:docMk/>
            <pc:sldMk cId="2009679662" sldId="2408"/>
            <ac:graphicFrameMk id="3" creationId="{14CA2F9F-4C1C-BB12-6084-5AEBE2C8B0C4}"/>
          </ac:graphicFrameMkLst>
        </pc:graphicFrameChg>
        <pc:graphicFrameChg chg="modGraphic">
          <ac:chgData name="Twila Cruickshank" userId="4e6a8caa-e860-4113-aa6e-ba9b52b14f7e" providerId="ADAL" clId="{71072DA8-F139-4CCE-A23F-D9ACB350D996}" dt="2025-11-19T19:18:41.935" v="12535" actId="20577"/>
          <ac:graphicFrameMkLst>
            <pc:docMk/>
            <pc:sldMk cId="2009679662" sldId="2408"/>
            <ac:graphicFrameMk id="4" creationId="{183C2C5F-EA93-1011-0603-3E35A6528D6E}"/>
          </ac:graphicFrameMkLst>
        </pc:graphicFrameChg>
      </pc:sldChg>
      <pc:sldChg chg="addSp delSp modSp mod modNotesTx">
        <pc:chgData name="Twila Cruickshank" userId="4e6a8caa-e860-4113-aa6e-ba9b52b14f7e" providerId="ADAL" clId="{71072DA8-F139-4CCE-A23F-D9ACB350D996}" dt="2025-11-19T19:23:00.617" v="12604" actId="20577"/>
        <pc:sldMkLst>
          <pc:docMk/>
          <pc:sldMk cId="3507842496" sldId="2410"/>
        </pc:sldMkLst>
        <pc:picChg chg="del mod">
          <ac:chgData name="Twila Cruickshank" userId="4e6a8caa-e860-4113-aa6e-ba9b52b14f7e" providerId="ADAL" clId="{71072DA8-F139-4CCE-A23F-D9ACB350D996}" dt="2025-11-19T00:43:38.372" v="9034" actId="478"/>
          <ac:picMkLst>
            <pc:docMk/>
            <pc:sldMk cId="3507842496" sldId="2410"/>
            <ac:picMk id="3" creationId="{43C8FE72-EA0D-7977-0E0C-D4B118A2485F}"/>
          </ac:picMkLst>
        </pc:picChg>
        <pc:picChg chg="add mod">
          <ac:chgData name="Twila Cruickshank" userId="4e6a8caa-e860-4113-aa6e-ba9b52b14f7e" providerId="ADAL" clId="{71072DA8-F139-4CCE-A23F-D9ACB350D996}" dt="2025-11-19T00:43:58.622" v="9039" actId="1076"/>
          <ac:picMkLst>
            <pc:docMk/>
            <pc:sldMk cId="3507842496" sldId="2410"/>
            <ac:picMk id="4" creationId="{870FE9B8-3F4C-988F-7C24-4D247071B800}"/>
          </ac:picMkLst>
        </pc:picChg>
      </pc:sldChg>
      <pc:sldChg chg="modSp mod modNotesTx">
        <pc:chgData name="Twila Cruickshank" userId="4e6a8caa-e860-4113-aa6e-ba9b52b14f7e" providerId="ADAL" clId="{71072DA8-F139-4CCE-A23F-D9ACB350D996}" dt="2025-11-19T19:01:16.353" v="12019" actId="20577"/>
        <pc:sldMkLst>
          <pc:docMk/>
          <pc:sldMk cId="4243581505" sldId="2411"/>
        </pc:sldMkLst>
        <pc:spChg chg="mod">
          <ac:chgData name="Twila Cruickshank" userId="4e6a8caa-e860-4113-aa6e-ba9b52b14f7e" providerId="ADAL" clId="{71072DA8-F139-4CCE-A23F-D9ACB350D996}" dt="2025-11-13T18:28:55.224" v="104" actId="20577"/>
          <ac:spMkLst>
            <pc:docMk/>
            <pc:sldMk cId="4243581505" sldId="2411"/>
            <ac:spMk id="4" creationId="{BED76804-BB58-A437-0F6A-33D79F1A32E8}"/>
          </ac:spMkLst>
        </pc:spChg>
      </pc:sldChg>
      <pc:sldChg chg="modNotesTx">
        <pc:chgData name="Twila Cruickshank" userId="4e6a8caa-e860-4113-aa6e-ba9b52b14f7e" providerId="ADAL" clId="{71072DA8-F139-4CCE-A23F-D9ACB350D996}" dt="2025-11-19T18:40:46.786" v="11189" actId="20577"/>
        <pc:sldMkLst>
          <pc:docMk/>
          <pc:sldMk cId="2979137253" sldId="2412"/>
        </pc:sldMkLst>
      </pc:sldChg>
      <pc:sldChg chg="modSp mod modNotesTx">
        <pc:chgData name="Twila Cruickshank" userId="4e6a8caa-e860-4113-aa6e-ba9b52b14f7e" providerId="ADAL" clId="{71072DA8-F139-4CCE-A23F-D9ACB350D996}" dt="2025-11-18T16:11:09.139" v="6213" actId="6549"/>
        <pc:sldMkLst>
          <pc:docMk/>
          <pc:sldMk cId="878828830" sldId="2413"/>
        </pc:sldMkLst>
        <pc:spChg chg="mod">
          <ac:chgData name="Twila Cruickshank" userId="4e6a8caa-e860-4113-aa6e-ba9b52b14f7e" providerId="ADAL" clId="{71072DA8-F139-4CCE-A23F-D9ACB350D996}" dt="2025-11-18T16:11:09.139" v="6213" actId="6549"/>
          <ac:spMkLst>
            <pc:docMk/>
            <pc:sldMk cId="878828830" sldId="2413"/>
            <ac:spMk id="6" creationId="{02413C16-714E-B5BF-E82A-819507A36046}"/>
          </ac:spMkLst>
        </pc:spChg>
        <pc:spChg chg="mod">
          <ac:chgData name="Twila Cruickshank" userId="4e6a8caa-e860-4113-aa6e-ba9b52b14f7e" providerId="ADAL" clId="{71072DA8-F139-4CCE-A23F-D9ACB350D996}" dt="2025-11-17T19:51:21.814" v="3006" actId="14100"/>
          <ac:spMkLst>
            <pc:docMk/>
            <pc:sldMk cId="878828830" sldId="2413"/>
            <ac:spMk id="12" creationId="{B72E2676-C2A0-CB1F-3482-7C2318E9F63D}"/>
          </ac:spMkLst>
        </pc:spChg>
        <pc:spChg chg="mod">
          <ac:chgData name="Twila Cruickshank" userId="4e6a8caa-e860-4113-aa6e-ba9b52b14f7e" providerId="ADAL" clId="{71072DA8-F139-4CCE-A23F-D9ACB350D996}" dt="2025-11-13T18:52:08.297" v="275" actId="255"/>
          <ac:spMkLst>
            <pc:docMk/>
            <pc:sldMk cId="878828830" sldId="2413"/>
            <ac:spMk id="19" creationId="{FFCC53A3-3682-E59A-7C27-28CF4A7A18DD}"/>
          </ac:spMkLst>
        </pc:spChg>
        <pc:spChg chg="mod">
          <ac:chgData name="Twila Cruickshank" userId="4e6a8caa-e860-4113-aa6e-ba9b52b14f7e" providerId="ADAL" clId="{71072DA8-F139-4CCE-A23F-D9ACB350D996}" dt="2025-11-13T18:51:59.361" v="274" actId="6549"/>
          <ac:spMkLst>
            <pc:docMk/>
            <pc:sldMk cId="878828830" sldId="2413"/>
            <ac:spMk id="20" creationId="{EEE68DCB-71B5-CE2A-5FA9-4A8AC0D9572D}"/>
          </ac:spMkLst>
        </pc:spChg>
        <pc:spChg chg="mod">
          <ac:chgData name="Twila Cruickshank" userId="4e6a8caa-e860-4113-aa6e-ba9b52b14f7e" providerId="ADAL" clId="{71072DA8-F139-4CCE-A23F-D9ACB350D996}" dt="2025-11-13T18:51:45.630" v="271" actId="20577"/>
          <ac:spMkLst>
            <pc:docMk/>
            <pc:sldMk cId="878828830" sldId="2413"/>
            <ac:spMk id="21" creationId="{E44A76A2-5B77-CDC0-211F-AFA4769AA1AC}"/>
          </ac:spMkLst>
        </pc:spChg>
      </pc:sldChg>
      <pc:sldChg chg="del mod modShow">
        <pc:chgData name="Twila Cruickshank" userId="4e6a8caa-e860-4113-aa6e-ba9b52b14f7e" providerId="ADAL" clId="{71072DA8-F139-4CCE-A23F-D9ACB350D996}" dt="2025-11-18T00:30:13.921" v="5594" actId="47"/>
        <pc:sldMkLst>
          <pc:docMk/>
          <pc:sldMk cId="2223840405" sldId="2416"/>
        </pc:sldMkLst>
      </pc:sldChg>
      <pc:sldChg chg="addSp delSp modSp mod modShow modNotesTx">
        <pc:chgData name="Twila Cruickshank" userId="4e6a8caa-e860-4113-aa6e-ba9b52b14f7e" providerId="ADAL" clId="{71072DA8-F139-4CCE-A23F-D9ACB350D996}" dt="2025-11-19T19:15:38.863" v="12503" actId="20577"/>
        <pc:sldMkLst>
          <pc:docMk/>
          <pc:sldMk cId="2915137339" sldId="2418"/>
        </pc:sldMkLst>
        <pc:spChg chg="mod">
          <ac:chgData name="Twila Cruickshank" userId="4e6a8caa-e860-4113-aa6e-ba9b52b14f7e" providerId="ADAL" clId="{71072DA8-F139-4CCE-A23F-D9ACB350D996}" dt="2025-11-19T19:15:38.863" v="12503" actId="20577"/>
          <ac:spMkLst>
            <pc:docMk/>
            <pc:sldMk cId="2915137339" sldId="2418"/>
            <ac:spMk id="3" creationId="{64807FC7-638B-6EA7-9AB0-45B3523C65C7}"/>
          </ac:spMkLst>
        </pc:spChg>
        <pc:spChg chg="mod">
          <ac:chgData name="Twila Cruickshank" userId="4e6a8caa-e860-4113-aa6e-ba9b52b14f7e" providerId="ADAL" clId="{71072DA8-F139-4CCE-A23F-D9ACB350D996}" dt="2025-11-19T01:43:42.584" v="9573" actId="207"/>
          <ac:spMkLst>
            <pc:docMk/>
            <pc:sldMk cId="2915137339" sldId="2418"/>
            <ac:spMk id="5" creationId="{17ABE83B-BFAE-F103-3B0A-4B9E0CFF5B1B}"/>
          </ac:spMkLst>
        </pc:spChg>
        <pc:spChg chg="mod">
          <ac:chgData name="Twila Cruickshank" userId="4e6a8caa-e860-4113-aa6e-ba9b52b14f7e" providerId="ADAL" clId="{71072DA8-F139-4CCE-A23F-D9ACB350D996}" dt="2025-11-19T01:44:00.248" v="9575" actId="207"/>
          <ac:spMkLst>
            <pc:docMk/>
            <pc:sldMk cId="2915137339" sldId="2418"/>
            <ac:spMk id="9" creationId="{41529752-4419-BFED-AEAB-A67D1275DA12}"/>
          </ac:spMkLst>
        </pc:spChg>
        <pc:spChg chg="mod">
          <ac:chgData name="Twila Cruickshank" userId="4e6a8caa-e860-4113-aa6e-ba9b52b14f7e" providerId="ADAL" clId="{71072DA8-F139-4CCE-A23F-D9ACB350D996}" dt="2025-11-19T01:42:50.301" v="9557" actId="6549"/>
          <ac:spMkLst>
            <pc:docMk/>
            <pc:sldMk cId="2915137339" sldId="2418"/>
            <ac:spMk id="10" creationId="{336AEEC9-A214-8D43-3D4B-4AE634F578D3}"/>
          </ac:spMkLst>
        </pc:spChg>
        <pc:spChg chg="mod">
          <ac:chgData name="Twila Cruickshank" userId="4e6a8caa-e860-4113-aa6e-ba9b52b14f7e" providerId="ADAL" clId="{71072DA8-F139-4CCE-A23F-D9ACB350D996}" dt="2025-11-19T18:37:05.682" v="10950" actId="6549"/>
          <ac:spMkLst>
            <pc:docMk/>
            <pc:sldMk cId="2915137339" sldId="2418"/>
            <ac:spMk id="11" creationId="{EF9E489E-3767-A9C6-22B7-527BBA482602}"/>
          </ac:spMkLst>
        </pc:spChg>
        <pc:spChg chg="mod">
          <ac:chgData name="Twila Cruickshank" userId="4e6a8caa-e860-4113-aa6e-ba9b52b14f7e" providerId="ADAL" clId="{71072DA8-F139-4CCE-A23F-D9ACB350D996}" dt="2025-11-19T01:43:54.894" v="9574" actId="207"/>
          <ac:spMkLst>
            <pc:docMk/>
            <pc:sldMk cId="2915137339" sldId="2418"/>
            <ac:spMk id="13" creationId="{1BACB35F-1AEB-3E9E-1A26-D7E0DF26B184}"/>
          </ac:spMkLst>
        </pc:spChg>
        <pc:picChg chg="add mod">
          <ac:chgData name="Twila Cruickshank" userId="4e6a8caa-e860-4113-aa6e-ba9b52b14f7e" providerId="ADAL" clId="{71072DA8-F139-4CCE-A23F-D9ACB350D996}" dt="2025-11-17T19:34:17.521" v="2788" actId="1076"/>
          <ac:picMkLst>
            <pc:docMk/>
            <pc:sldMk cId="2915137339" sldId="2418"/>
            <ac:picMk id="4" creationId="{144CA047-7D54-D7F7-A84B-8D58EA1C84DE}"/>
          </ac:picMkLst>
        </pc:picChg>
        <pc:picChg chg="add mod">
          <ac:chgData name="Twila Cruickshank" userId="4e6a8caa-e860-4113-aa6e-ba9b52b14f7e" providerId="ADAL" clId="{71072DA8-F139-4CCE-A23F-D9ACB350D996}" dt="2025-11-19T00:25:49.353" v="8872" actId="14100"/>
          <ac:picMkLst>
            <pc:docMk/>
            <pc:sldMk cId="2915137339" sldId="2418"/>
            <ac:picMk id="6" creationId="{2A93C9F7-91E6-E3F9-6506-7AF3355E4497}"/>
          </ac:picMkLst>
        </pc:picChg>
        <pc:picChg chg="mod">
          <ac:chgData name="Twila Cruickshank" userId="4e6a8caa-e860-4113-aa6e-ba9b52b14f7e" providerId="ADAL" clId="{71072DA8-F139-4CCE-A23F-D9ACB350D996}" dt="2025-11-17T19:34:25.321" v="2790" actId="14100"/>
          <ac:picMkLst>
            <pc:docMk/>
            <pc:sldMk cId="2915137339" sldId="2418"/>
            <ac:picMk id="8" creationId="{E5156CEB-0A19-12D0-F665-3A75F93A80E5}"/>
          </ac:picMkLst>
        </pc:picChg>
        <pc:picChg chg="del mod">
          <ac:chgData name="Twila Cruickshank" userId="4e6a8caa-e860-4113-aa6e-ba9b52b14f7e" providerId="ADAL" clId="{71072DA8-F139-4CCE-A23F-D9ACB350D996}" dt="2025-11-19T00:25:02.335" v="8866" actId="478"/>
          <ac:picMkLst>
            <pc:docMk/>
            <pc:sldMk cId="2915137339" sldId="2418"/>
            <ac:picMk id="16" creationId="{4A825159-769F-FDBC-289C-808A60CA6F51}"/>
          </ac:picMkLst>
        </pc:picChg>
        <pc:picChg chg="mod">
          <ac:chgData name="Twila Cruickshank" userId="4e6a8caa-e860-4113-aa6e-ba9b52b14f7e" providerId="ADAL" clId="{71072DA8-F139-4CCE-A23F-D9ACB350D996}" dt="2025-11-17T19:34:22.577" v="2789" actId="14100"/>
          <ac:picMkLst>
            <pc:docMk/>
            <pc:sldMk cId="2915137339" sldId="2418"/>
            <ac:picMk id="18" creationId="{7ADC3912-178B-FC52-F060-1D389C125399}"/>
          </ac:picMkLst>
        </pc:picChg>
      </pc:sldChg>
      <pc:sldChg chg="addSp delSp modSp mod modNotesTx">
        <pc:chgData name="Twila Cruickshank" userId="4e6a8caa-e860-4113-aa6e-ba9b52b14f7e" providerId="ADAL" clId="{71072DA8-F139-4CCE-A23F-D9ACB350D996}" dt="2025-11-19T19:23:59.179" v="12605" actId="313"/>
        <pc:sldMkLst>
          <pc:docMk/>
          <pc:sldMk cId="1782692610" sldId="2419"/>
        </pc:sldMkLst>
        <pc:spChg chg="del mod">
          <ac:chgData name="Twila Cruickshank" userId="4e6a8caa-e860-4113-aa6e-ba9b52b14f7e" providerId="ADAL" clId="{71072DA8-F139-4CCE-A23F-D9ACB350D996}" dt="2025-11-19T00:32:05.346" v="8968" actId="478"/>
          <ac:spMkLst>
            <pc:docMk/>
            <pc:sldMk cId="1782692610" sldId="2419"/>
            <ac:spMk id="2" creationId="{9BCA7EC5-76A8-D9AA-CCC5-ECFDCEEE1B12}"/>
          </ac:spMkLst>
        </pc:spChg>
        <pc:spChg chg="mod">
          <ac:chgData name="Twila Cruickshank" userId="4e6a8caa-e860-4113-aa6e-ba9b52b14f7e" providerId="ADAL" clId="{71072DA8-F139-4CCE-A23F-D9ACB350D996}" dt="2025-11-19T00:38:10.933" v="9024" actId="14100"/>
          <ac:spMkLst>
            <pc:docMk/>
            <pc:sldMk cId="1782692610" sldId="2419"/>
            <ac:spMk id="10" creationId="{EED5D5F7-A4B1-366C-3C11-C092D9984D42}"/>
          </ac:spMkLst>
        </pc:spChg>
        <pc:spChg chg="mod">
          <ac:chgData name="Twila Cruickshank" userId="4e6a8caa-e860-4113-aa6e-ba9b52b14f7e" providerId="ADAL" clId="{71072DA8-F139-4CCE-A23F-D9ACB350D996}" dt="2025-11-19T00:35:34.305" v="9005" actId="207"/>
          <ac:spMkLst>
            <pc:docMk/>
            <pc:sldMk cId="1782692610" sldId="2419"/>
            <ac:spMk id="60" creationId="{98FC52F9-091C-7223-1D20-C8C88F24A5C3}"/>
          </ac:spMkLst>
        </pc:spChg>
        <pc:spChg chg="mod">
          <ac:chgData name="Twila Cruickshank" userId="4e6a8caa-e860-4113-aa6e-ba9b52b14f7e" providerId="ADAL" clId="{71072DA8-F139-4CCE-A23F-D9ACB350D996}" dt="2025-11-19T00:36:40.348" v="9012" actId="207"/>
          <ac:spMkLst>
            <pc:docMk/>
            <pc:sldMk cId="1782692610" sldId="2419"/>
            <ac:spMk id="61" creationId="{DDB228C3-BEC2-7CB5-B0A6-378461DA9DC0}"/>
          </ac:spMkLst>
        </pc:spChg>
        <pc:spChg chg="mod">
          <ac:chgData name="Twila Cruickshank" userId="4e6a8caa-e860-4113-aa6e-ba9b52b14f7e" providerId="ADAL" clId="{71072DA8-F139-4CCE-A23F-D9ACB350D996}" dt="2025-11-19T00:36:10.412" v="9009" actId="207"/>
          <ac:spMkLst>
            <pc:docMk/>
            <pc:sldMk cId="1782692610" sldId="2419"/>
            <ac:spMk id="62" creationId="{80C0EDBC-8FD0-4724-1D92-50CFF8B97848}"/>
          </ac:spMkLst>
        </pc:spChg>
        <pc:spChg chg="mod">
          <ac:chgData name="Twila Cruickshank" userId="4e6a8caa-e860-4113-aa6e-ba9b52b14f7e" providerId="ADAL" clId="{71072DA8-F139-4CCE-A23F-D9ACB350D996}" dt="2025-11-19T00:36:21.507" v="9010" actId="207"/>
          <ac:spMkLst>
            <pc:docMk/>
            <pc:sldMk cId="1782692610" sldId="2419"/>
            <ac:spMk id="63" creationId="{D0CC5315-D449-CA01-A571-62BFFF419CEC}"/>
          </ac:spMkLst>
        </pc:spChg>
        <pc:spChg chg="del mod">
          <ac:chgData name="Twila Cruickshank" userId="4e6a8caa-e860-4113-aa6e-ba9b52b14f7e" providerId="ADAL" clId="{71072DA8-F139-4CCE-A23F-D9ACB350D996}" dt="2025-11-19T00:32:46.335" v="8978" actId="478"/>
          <ac:spMkLst>
            <pc:docMk/>
            <pc:sldMk cId="1782692610" sldId="2419"/>
            <ac:spMk id="64" creationId="{B5E77149-FF3B-A652-2E88-799589BF6E79}"/>
          </ac:spMkLst>
        </pc:spChg>
        <pc:spChg chg="add del mod">
          <ac:chgData name="Twila Cruickshank" userId="4e6a8caa-e860-4113-aa6e-ba9b52b14f7e" providerId="ADAL" clId="{71072DA8-F139-4CCE-A23F-D9ACB350D996}" dt="2025-11-19T00:32:43.735" v="8976" actId="478"/>
          <ac:spMkLst>
            <pc:docMk/>
            <pc:sldMk cId="1782692610" sldId="2419"/>
            <ac:spMk id="65" creationId="{5304D0B8-6CB7-6C55-D7DB-588FB5B2A1C1}"/>
          </ac:spMkLst>
        </pc:spChg>
        <pc:spChg chg="mod">
          <ac:chgData name="Twila Cruickshank" userId="4e6a8caa-e860-4113-aa6e-ba9b52b14f7e" providerId="ADAL" clId="{71072DA8-F139-4CCE-A23F-D9ACB350D996}" dt="2025-11-19T00:37:35.664" v="9019" actId="207"/>
          <ac:spMkLst>
            <pc:docMk/>
            <pc:sldMk cId="1782692610" sldId="2419"/>
            <ac:spMk id="71" creationId="{DAB4DE29-A05B-2C3B-6DFF-4FA5BCEDF880}"/>
          </ac:spMkLst>
        </pc:spChg>
        <pc:spChg chg="mod">
          <ac:chgData name="Twila Cruickshank" userId="4e6a8caa-e860-4113-aa6e-ba9b52b14f7e" providerId="ADAL" clId="{71072DA8-F139-4CCE-A23F-D9ACB350D996}" dt="2025-11-19T00:36:27.890" v="9011" actId="207"/>
          <ac:spMkLst>
            <pc:docMk/>
            <pc:sldMk cId="1782692610" sldId="2419"/>
            <ac:spMk id="109" creationId="{24538C14-132C-1E2D-C903-98ACE4F54792}"/>
          </ac:spMkLst>
        </pc:spChg>
        <pc:spChg chg="mod">
          <ac:chgData name="Twila Cruickshank" userId="4e6a8caa-e860-4113-aa6e-ba9b52b14f7e" providerId="ADAL" clId="{71072DA8-F139-4CCE-A23F-D9ACB350D996}" dt="2025-11-19T00:36:27.890" v="9011" actId="207"/>
          <ac:spMkLst>
            <pc:docMk/>
            <pc:sldMk cId="1782692610" sldId="2419"/>
            <ac:spMk id="111" creationId="{97A81B38-8A14-4E07-5FB9-654CE63863B7}"/>
          </ac:spMkLst>
        </pc:spChg>
        <pc:spChg chg="mod">
          <ac:chgData name="Twila Cruickshank" userId="4e6a8caa-e860-4113-aa6e-ba9b52b14f7e" providerId="ADAL" clId="{71072DA8-F139-4CCE-A23F-D9ACB350D996}" dt="2025-11-19T00:36:04.588" v="9008" actId="207"/>
          <ac:spMkLst>
            <pc:docMk/>
            <pc:sldMk cId="1782692610" sldId="2419"/>
            <ac:spMk id="113" creationId="{AB9B349A-CFCD-771E-E97D-832C8FB6EE68}"/>
          </ac:spMkLst>
        </pc:spChg>
        <pc:spChg chg="mod">
          <ac:chgData name="Twila Cruickshank" userId="4e6a8caa-e860-4113-aa6e-ba9b52b14f7e" providerId="ADAL" clId="{71072DA8-F139-4CCE-A23F-D9ACB350D996}" dt="2025-11-19T00:36:04.588" v="9008" actId="207"/>
          <ac:spMkLst>
            <pc:docMk/>
            <pc:sldMk cId="1782692610" sldId="2419"/>
            <ac:spMk id="115" creationId="{8D3C3E52-BD01-1959-3F20-3D294B7EE3DC}"/>
          </ac:spMkLst>
        </pc:spChg>
        <pc:spChg chg="mod">
          <ac:chgData name="Twila Cruickshank" userId="4e6a8caa-e860-4113-aa6e-ba9b52b14f7e" providerId="ADAL" clId="{71072DA8-F139-4CCE-A23F-D9ACB350D996}" dt="2025-11-19T00:36:48.214" v="9013" actId="207"/>
          <ac:spMkLst>
            <pc:docMk/>
            <pc:sldMk cId="1782692610" sldId="2419"/>
            <ac:spMk id="117" creationId="{21173D39-53C5-CEDB-9BF9-EBC738157908}"/>
          </ac:spMkLst>
        </pc:spChg>
        <pc:spChg chg="mod">
          <ac:chgData name="Twila Cruickshank" userId="4e6a8caa-e860-4113-aa6e-ba9b52b14f7e" providerId="ADAL" clId="{71072DA8-F139-4CCE-A23F-D9ACB350D996}" dt="2025-11-19T00:35:44.566" v="9006" actId="207"/>
          <ac:spMkLst>
            <pc:docMk/>
            <pc:sldMk cId="1782692610" sldId="2419"/>
            <ac:spMk id="121" creationId="{59542C05-4E97-0E0E-8BEF-2E443EC5D81A}"/>
          </ac:spMkLst>
        </pc:spChg>
        <pc:spChg chg="mod">
          <ac:chgData name="Twila Cruickshank" userId="4e6a8caa-e860-4113-aa6e-ba9b52b14f7e" providerId="ADAL" clId="{71072DA8-F139-4CCE-A23F-D9ACB350D996}" dt="2025-11-19T00:35:44.566" v="9006" actId="207"/>
          <ac:spMkLst>
            <pc:docMk/>
            <pc:sldMk cId="1782692610" sldId="2419"/>
            <ac:spMk id="123" creationId="{CDE9DC74-486A-6E6F-8126-F30F298B1E91}"/>
          </ac:spMkLst>
        </pc:spChg>
        <pc:spChg chg="del">
          <ac:chgData name="Twila Cruickshank" userId="4e6a8caa-e860-4113-aa6e-ba9b52b14f7e" providerId="ADAL" clId="{71072DA8-F139-4CCE-A23F-D9ACB350D996}" dt="2025-11-19T00:34:06.240" v="8994" actId="478"/>
          <ac:spMkLst>
            <pc:docMk/>
            <pc:sldMk cId="1782692610" sldId="2419"/>
            <ac:spMk id="127" creationId="{41B1FB87-FDAC-4EFA-0B57-B513F2090343}"/>
          </ac:spMkLst>
        </pc:spChg>
        <pc:spChg chg="mod">
          <ac:chgData name="Twila Cruickshank" userId="4e6a8caa-e860-4113-aa6e-ba9b52b14f7e" providerId="ADAL" clId="{71072DA8-F139-4CCE-A23F-D9ACB350D996}" dt="2025-11-19T00:37:42.120" v="9020" actId="207"/>
          <ac:spMkLst>
            <pc:docMk/>
            <pc:sldMk cId="1782692610" sldId="2419"/>
            <ac:spMk id="133" creationId="{F956C64E-CD67-8355-8A07-8DA49CC82B72}"/>
          </ac:spMkLst>
        </pc:spChg>
        <pc:spChg chg="mod">
          <ac:chgData name="Twila Cruickshank" userId="4e6a8caa-e860-4113-aa6e-ba9b52b14f7e" providerId="ADAL" clId="{71072DA8-F139-4CCE-A23F-D9ACB350D996}" dt="2025-11-19T00:37:57.256" v="9022" actId="207"/>
          <ac:spMkLst>
            <pc:docMk/>
            <pc:sldMk cId="1782692610" sldId="2419"/>
            <ac:spMk id="137" creationId="{17357B0B-AA52-77EC-8E19-F376B1E50E8D}"/>
          </ac:spMkLst>
        </pc:spChg>
        <pc:spChg chg="mod">
          <ac:chgData name="Twila Cruickshank" userId="4e6a8caa-e860-4113-aa6e-ba9b52b14f7e" providerId="ADAL" clId="{71072DA8-F139-4CCE-A23F-D9ACB350D996}" dt="2025-11-19T00:37:57.256" v="9022" actId="207"/>
          <ac:spMkLst>
            <pc:docMk/>
            <pc:sldMk cId="1782692610" sldId="2419"/>
            <ac:spMk id="139" creationId="{B5F8B759-E04F-FD4B-2D05-E90738F1D13B}"/>
          </ac:spMkLst>
        </pc:spChg>
        <pc:spChg chg="mod">
          <ac:chgData name="Twila Cruickshank" userId="4e6a8caa-e860-4113-aa6e-ba9b52b14f7e" providerId="ADAL" clId="{71072DA8-F139-4CCE-A23F-D9ACB350D996}" dt="2025-11-19T00:37:05.873" v="9015" actId="207"/>
          <ac:spMkLst>
            <pc:docMk/>
            <pc:sldMk cId="1782692610" sldId="2419"/>
            <ac:spMk id="141" creationId="{166C2E73-F8BA-209D-5673-0311042CC5BB}"/>
          </ac:spMkLst>
        </pc:spChg>
        <pc:spChg chg="mod">
          <ac:chgData name="Twila Cruickshank" userId="4e6a8caa-e860-4113-aa6e-ba9b52b14f7e" providerId="ADAL" clId="{71072DA8-F139-4CCE-A23F-D9ACB350D996}" dt="2025-11-19T00:37:05.873" v="9015" actId="207"/>
          <ac:spMkLst>
            <pc:docMk/>
            <pc:sldMk cId="1782692610" sldId="2419"/>
            <ac:spMk id="143" creationId="{234C32EF-F75E-C566-D141-32BD58B13A1F}"/>
          </ac:spMkLst>
        </pc:spChg>
        <pc:spChg chg="add del mod">
          <ac:chgData name="Twila Cruickshank" userId="4e6a8caa-e860-4113-aa6e-ba9b52b14f7e" providerId="ADAL" clId="{71072DA8-F139-4CCE-A23F-D9ACB350D996}" dt="2025-11-19T00:37:50.506" v="9021" actId="207"/>
          <ac:spMkLst>
            <pc:docMk/>
            <pc:sldMk cId="1782692610" sldId="2419"/>
            <ac:spMk id="144" creationId="{3E91A3F5-616B-A9D7-939E-B8B5C003E599}"/>
          </ac:spMkLst>
        </pc:spChg>
        <pc:spChg chg="mod">
          <ac:chgData name="Twila Cruickshank" userId="4e6a8caa-e860-4113-aa6e-ba9b52b14f7e" providerId="ADAL" clId="{71072DA8-F139-4CCE-A23F-D9ACB350D996}" dt="2025-11-19T00:37:00.123" v="9014" actId="207"/>
          <ac:spMkLst>
            <pc:docMk/>
            <pc:sldMk cId="1782692610" sldId="2419"/>
            <ac:spMk id="145" creationId="{BAAB9602-AC79-DF82-7814-72CE937D3E7A}"/>
          </ac:spMkLst>
        </pc:spChg>
        <pc:grpChg chg="del">
          <ac:chgData name="Twila Cruickshank" userId="4e6a8caa-e860-4113-aa6e-ba9b52b14f7e" providerId="ADAL" clId="{71072DA8-F139-4CCE-A23F-D9ACB350D996}" dt="2025-11-19T00:32:03.827" v="8967" actId="478"/>
          <ac:grpSpMkLst>
            <pc:docMk/>
            <pc:sldMk cId="1782692610" sldId="2419"/>
            <ac:grpSpMk id="3" creationId="{8985319C-E6D6-DA7A-2394-A64557B4875C}"/>
          </ac:grpSpMkLst>
        </pc:grpChg>
        <pc:grpChg chg="del">
          <ac:chgData name="Twila Cruickshank" userId="4e6a8caa-e860-4113-aa6e-ba9b52b14f7e" providerId="ADAL" clId="{71072DA8-F139-4CCE-A23F-D9ACB350D996}" dt="2025-11-19T00:32:44.935" v="8977" actId="478"/>
          <ac:grpSpMkLst>
            <pc:docMk/>
            <pc:sldMk cId="1782692610" sldId="2419"/>
            <ac:grpSpMk id="103" creationId="{BA8AE11A-BEBB-1BFE-483F-66CF44F2373A}"/>
          </ac:grpSpMkLst>
        </pc:grpChg>
        <pc:grpChg chg="del">
          <ac:chgData name="Twila Cruickshank" userId="4e6a8caa-e860-4113-aa6e-ba9b52b14f7e" providerId="ADAL" clId="{71072DA8-F139-4CCE-A23F-D9ACB350D996}" dt="2025-11-19T00:32:47.438" v="8979" actId="478"/>
          <ac:grpSpMkLst>
            <pc:docMk/>
            <pc:sldMk cId="1782692610" sldId="2419"/>
            <ac:grpSpMk id="104" creationId="{EDAA8BC1-44DA-6517-B070-E1525E30B899}"/>
          </ac:grpSpMkLst>
        </pc:grpChg>
        <pc:grpChg chg="mod">
          <ac:chgData name="Twila Cruickshank" userId="4e6a8caa-e860-4113-aa6e-ba9b52b14f7e" providerId="ADAL" clId="{71072DA8-F139-4CCE-A23F-D9ACB350D996}" dt="2025-11-19T00:36:27.890" v="9011" actId="207"/>
          <ac:grpSpMkLst>
            <pc:docMk/>
            <pc:sldMk cId="1782692610" sldId="2419"/>
            <ac:grpSpMk id="108" creationId="{F0563459-0BA0-BFC9-E03C-942F4343F26E}"/>
          </ac:grpSpMkLst>
        </pc:grpChg>
        <pc:grpChg chg="mod">
          <ac:chgData name="Twila Cruickshank" userId="4e6a8caa-e860-4113-aa6e-ba9b52b14f7e" providerId="ADAL" clId="{71072DA8-F139-4CCE-A23F-D9ACB350D996}" dt="2025-11-19T00:36:04.588" v="9008" actId="207"/>
          <ac:grpSpMkLst>
            <pc:docMk/>
            <pc:sldMk cId="1782692610" sldId="2419"/>
            <ac:grpSpMk id="112" creationId="{2E93590B-E933-FA51-A4D7-DD453EE343A0}"/>
          </ac:grpSpMkLst>
        </pc:grpChg>
        <pc:grpChg chg="mod">
          <ac:chgData name="Twila Cruickshank" userId="4e6a8caa-e860-4113-aa6e-ba9b52b14f7e" providerId="ADAL" clId="{71072DA8-F139-4CCE-A23F-D9ACB350D996}" dt="2025-11-19T00:33:11.232" v="8985" actId="1076"/>
          <ac:grpSpMkLst>
            <pc:docMk/>
            <pc:sldMk cId="1782692610" sldId="2419"/>
            <ac:grpSpMk id="116" creationId="{E908010D-276D-253F-D61C-F282EF5F94F3}"/>
          </ac:grpSpMkLst>
        </pc:grpChg>
        <pc:grpChg chg="mod">
          <ac:chgData name="Twila Cruickshank" userId="4e6a8caa-e860-4113-aa6e-ba9b52b14f7e" providerId="ADAL" clId="{71072DA8-F139-4CCE-A23F-D9ACB350D996}" dt="2025-11-19T00:35:44.566" v="9006" actId="207"/>
          <ac:grpSpMkLst>
            <pc:docMk/>
            <pc:sldMk cId="1782692610" sldId="2419"/>
            <ac:grpSpMk id="120" creationId="{F52F52C0-A5AF-4183-10F3-768A131F80DF}"/>
          </ac:grpSpMkLst>
        </pc:grpChg>
        <pc:grpChg chg="del">
          <ac:chgData name="Twila Cruickshank" userId="4e6a8caa-e860-4113-aa6e-ba9b52b14f7e" providerId="ADAL" clId="{71072DA8-F139-4CCE-A23F-D9ACB350D996}" dt="2025-11-19T00:34:08.414" v="8995" actId="478"/>
          <ac:grpSpMkLst>
            <pc:docMk/>
            <pc:sldMk cId="1782692610" sldId="2419"/>
            <ac:grpSpMk id="124" creationId="{740F2157-3E42-7E64-DBFE-5D237C0D4627}"/>
          </ac:grpSpMkLst>
        </pc:grpChg>
        <pc:grpChg chg="mod">
          <ac:chgData name="Twila Cruickshank" userId="4e6a8caa-e860-4113-aa6e-ba9b52b14f7e" providerId="ADAL" clId="{71072DA8-F139-4CCE-A23F-D9ACB350D996}" dt="2025-11-19T00:33:59.005" v="8992" actId="1076"/>
          <ac:grpSpMkLst>
            <pc:docMk/>
            <pc:sldMk cId="1782692610" sldId="2419"/>
            <ac:grpSpMk id="132" creationId="{5A0541D1-EB52-3DC9-DC9C-FDF92C9E79ED}"/>
          </ac:grpSpMkLst>
        </pc:grpChg>
        <pc:grpChg chg="mod">
          <ac:chgData name="Twila Cruickshank" userId="4e6a8caa-e860-4113-aa6e-ba9b52b14f7e" providerId="ADAL" clId="{71072DA8-F139-4CCE-A23F-D9ACB350D996}" dt="2025-11-19T00:37:57.256" v="9022" actId="207"/>
          <ac:grpSpMkLst>
            <pc:docMk/>
            <pc:sldMk cId="1782692610" sldId="2419"/>
            <ac:grpSpMk id="136" creationId="{7A1996D1-C14F-2FA6-F37E-CB58C7966CC6}"/>
          </ac:grpSpMkLst>
        </pc:grpChg>
        <pc:grpChg chg="mod">
          <ac:chgData name="Twila Cruickshank" userId="4e6a8caa-e860-4113-aa6e-ba9b52b14f7e" providerId="ADAL" clId="{71072DA8-F139-4CCE-A23F-D9ACB350D996}" dt="2025-11-19T00:37:05.873" v="9015" actId="207"/>
          <ac:grpSpMkLst>
            <pc:docMk/>
            <pc:sldMk cId="1782692610" sldId="2419"/>
            <ac:grpSpMk id="140" creationId="{931C391A-1468-DAD2-F0A3-E5E03DEDFB74}"/>
          </ac:grpSpMkLst>
        </pc:grpChg>
        <pc:cxnChg chg="mod">
          <ac:chgData name="Twila Cruickshank" userId="4e6a8caa-e860-4113-aa6e-ba9b52b14f7e" providerId="ADAL" clId="{71072DA8-F139-4CCE-A23F-D9ACB350D996}" dt="2025-11-19T00:32:03.827" v="8967" actId="478"/>
          <ac:cxnSpMkLst>
            <pc:docMk/>
            <pc:sldMk cId="1782692610" sldId="2419"/>
            <ac:cxnSpMk id="5" creationId="{C908F38D-16CA-8DBA-475B-410E1C4C96FD}"/>
          </ac:cxnSpMkLst>
        </pc:cxnChg>
        <pc:cxnChg chg="mod">
          <ac:chgData name="Twila Cruickshank" userId="4e6a8caa-e860-4113-aa6e-ba9b52b14f7e" providerId="ADAL" clId="{71072DA8-F139-4CCE-A23F-D9ACB350D996}" dt="2025-11-19T00:32:44.935" v="8977" actId="478"/>
          <ac:cxnSpMkLst>
            <pc:docMk/>
            <pc:sldMk cId="1782692610" sldId="2419"/>
            <ac:cxnSpMk id="76" creationId="{D8075365-F59C-C539-D292-EA1544C2180B}"/>
          </ac:cxnSpMkLst>
        </pc:cxnChg>
        <pc:cxnChg chg="mod">
          <ac:chgData name="Twila Cruickshank" userId="4e6a8caa-e860-4113-aa6e-ba9b52b14f7e" providerId="ADAL" clId="{71072DA8-F139-4CCE-A23F-D9ACB350D996}" dt="2025-11-19T00:32:47.438" v="8979" actId="478"/>
          <ac:cxnSpMkLst>
            <pc:docMk/>
            <pc:sldMk cId="1782692610" sldId="2419"/>
            <ac:cxnSpMk id="106" creationId="{765C6169-58EA-54AF-FD84-16114A7BC154}"/>
          </ac:cxnSpMkLst>
        </pc:cxnChg>
        <pc:cxnChg chg="mod">
          <ac:chgData name="Twila Cruickshank" userId="4e6a8caa-e860-4113-aa6e-ba9b52b14f7e" providerId="ADAL" clId="{71072DA8-F139-4CCE-A23F-D9ACB350D996}" dt="2025-11-19T00:36:27.890" v="9011" actId="207"/>
          <ac:cxnSpMkLst>
            <pc:docMk/>
            <pc:sldMk cId="1782692610" sldId="2419"/>
            <ac:cxnSpMk id="110" creationId="{73DD6BFA-9E08-29D9-D46F-6F601BA9A13D}"/>
          </ac:cxnSpMkLst>
        </pc:cxnChg>
        <pc:cxnChg chg="mod">
          <ac:chgData name="Twila Cruickshank" userId="4e6a8caa-e860-4113-aa6e-ba9b52b14f7e" providerId="ADAL" clId="{71072DA8-F139-4CCE-A23F-D9ACB350D996}" dt="2025-11-19T00:36:04.588" v="9008" actId="207"/>
          <ac:cxnSpMkLst>
            <pc:docMk/>
            <pc:sldMk cId="1782692610" sldId="2419"/>
            <ac:cxnSpMk id="114" creationId="{99A824C7-6524-21AD-A1C6-318FD3B59609}"/>
          </ac:cxnSpMkLst>
        </pc:cxnChg>
        <pc:cxnChg chg="mod">
          <ac:chgData name="Twila Cruickshank" userId="4e6a8caa-e860-4113-aa6e-ba9b52b14f7e" providerId="ADAL" clId="{71072DA8-F139-4CCE-A23F-D9ACB350D996}" dt="2025-11-19T00:35:44.566" v="9006" actId="207"/>
          <ac:cxnSpMkLst>
            <pc:docMk/>
            <pc:sldMk cId="1782692610" sldId="2419"/>
            <ac:cxnSpMk id="122" creationId="{6BCE395F-61B4-8936-A073-2F038638856F}"/>
          </ac:cxnSpMkLst>
        </pc:cxnChg>
        <pc:cxnChg chg="mod">
          <ac:chgData name="Twila Cruickshank" userId="4e6a8caa-e860-4113-aa6e-ba9b52b14f7e" providerId="ADAL" clId="{71072DA8-F139-4CCE-A23F-D9ACB350D996}" dt="2025-11-19T00:34:08.414" v="8995" actId="478"/>
          <ac:cxnSpMkLst>
            <pc:docMk/>
            <pc:sldMk cId="1782692610" sldId="2419"/>
            <ac:cxnSpMk id="126" creationId="{53B73792-B0AB-8859-2DA4-3A10B3B339EF}"/>
          </ac:cxnSpMkLst>
        </pc:cxnChg>
        <pc:cxnChg chg="mod">
          <ac:chgData name="Twila Cruickshank" userId="4e6a8caa-e860-4113-aa6e-ba9b52b14f7e" providerId="ADAL" clId="{71072DA8-F139-4CCE-A23F-D9ACB350D996}" dt="2025-11-19T00:37:57.256" v="9022" actId="207"/>
          <ac:cxnSpMkLst>
            <pc:docMk/>
            <pc:sldMk cId="1782692610" sldId="2419"/>
            <ac:cxnSpMk id="138" creationId="{B547EAED-4655-34FC-245B-0CE3C3784F66}"/>
          </ac:cxnSpMkLst>
        </pc:cxnChg>
        <pc:cxnChg chg="mod">
          <ac:chgData name="Twila Cruickshank" userId="4e6a8caa-e860-4113-aa6e-ba9b52b14f7e" providerId="ADAL" clId="{71072DA8-F139-4CCE-A23F-D9ACB350D996}" dt="2025-11-19T00:37:05.873" v="9015" actId="207"/>
          <ac:cxnSpMkLst>
            <pc:docMk/>
            <pc:sldMk cId="1782692610" sldId="2419"/>
            <ac:cxnSpMk id="142" creationId="{74CCD90B-E05C-E1D5-934D-C928A44C67EA}"/>
          </ac:cxnSpMkLst>
        </pc:cxnChg>
      </pc:sldChg>
      <pc:sldChg chg="addSp delSp modSp mod ord modNotesTx">
        <pc:chgData name="Twila Cruickshank" userId="4e6a8caa-e860-4113-aa6e-ba9b52b14f7e" providerId="ADAL" clId="{71072DA8-F139-4CCE-A23F-D9ACB350D996}" dt="2025-11-19T22:06:40.983" v="12678" actId="20577"/>
        <pc:sldMkLst>
          <pc:docMk/>
          <pc:sldMk cId="3976221406" sldId="2420"/>
        </pc:sldMkLst>
        <pc:spChg chg="add mod">
          <ac:chgData name="Twila Cruickshank" userId="4e6a8caa-e860-4113-aa6e-ba9b52b14f7e" providerId="ADAL" clId="{71072DA8-F139-4CCE-A23F-D9ACB350D996}" dt="2025-11-19T18:55:51.225" v="11913" actId="113"/>
          <ac:spMkLst>
            <pc:docMk/>
            <pc:sldMk cId="3976221406" sldId="2420"/>
            <ac:spMk id="5" creationId="{4BDCA0FC-CEA9-D490-F206-E3413E59E051}"/>
          </ac:spMkLst>
        </pc:spChg>
        <pc:spChg chg="add del mod">
          <ac:chgData name="Twila Cruickshank" userId="4e6a8caa-e860-4113-aa6e-ba9b52b14f7e" providerId="ADAL" clId="{71072DA8-F139-4CCE-A23F-D9ACB350D996}" dt="2025-11-19T22:05:52.478" v="12613" actId="478"/>
          <ac:spMkLst>
            <pc:docMk/>
            <pc:sldMk cId="3976221406" sldId="2420"/>
            <ac:spMk id="6" creationId="{CF93BE2B-1A38-F8C0-C000-EAC92DB0087C}"/>
          </ac:spMkLst>
        </pc:spChg>
        <pc:spChg chg="mod">
          <ac:chgData name="Twila Cruickshank" userId="4e6a8caa-e860-4113-aa6e-ba9b52b14f7e" providerId="ADAL" clId="{71072DA8-F139-4CCE-A23F-D9ACB350D996}" dt="2025-11-18T20:22:59.988" v="6870" actId="6549"/>
          <ac:spMkLst>
            <pc:docMk/>
            <pc:sldMk cId="3976221406" sldId="2420"/>
            <ac:spMk id="10" creationId="{2F338892-0BDD-9958-2752-BF9AFC21F864}"/>
          </ac:spMkLst>
        </pc:spChg>
        <pc:spChg chg="mod">
          <ac:chgData name="Twila Cruickshank" userId="4e6a8caa-e860-4113-aa6e-ba9b52b14f7e" providerId="ADAL" clId="{71072DA8-F139-4CCE-A23F-D9ACB350D996}" dt="2025-11-18T20:28:15.621" v="6939" actId="6549"/>
          <ac:spMkLst>
            <pc:docMk/>
            <pc:sldMk cId="3976221406" sldId="2420"/>
            <ac:spMk id="27" creationId="{03D09295-2EBE-3781-BFE4-96240CB1DAB5}"/>
          </ac:spMkLst>
        </pc:spChg>
        <pc:spChg chg="mod">
          <ac:chgData name="Twila Cruickshank" userId="4e6a8caa-e860-4113-aa6e-ba9b52b14f7e" providerId="ADAL" clId="{71072DA8-F139-4CCE-A23F-D9ACB350D996}" dt="2025-11-18T20:24:04.906" v="6887" actId="20577"/>
          <ac:spMkLst>
            <pc:docMk/>
            <pc:sldMk cId="3976221406" sldId="2420"/>
            <ac:spMk id="30" creationId="{A54C91A9-C59B-FA48-397A-7E96B0D5E18B}"/>
          </ac:spMkLst>
        </pc:spChg>
        <pc:picChg chg="add mod">
          <ac:chgData name="Twila Cruickshank" userId="4e6a8caa-e860-4113-aa6e-ba9b52b14f7e" providerId="ADAL" clId="{71072DA8-F139-4CCE-A23F-D9ACB350D996}" dt="2025-11-19T22:05:07.384" v="12610" actId="1076"/>
          <ac:picMkLst>
            <pc:docMk/>
            <pc:sldMk cId="3976221406" sldId="2420"/>
            <ac:picMk id="3" creationId="{BACD7060-F580-6B92-B47C-4C5C9FC1898A}"/>
          </ac:picMkLst>
        </pc:picChg>
        <pc:picChg chg="add del mod">
          <ac:chgData name="Twila Cruickshank" userId="4e6a8caa-e860-4113-aa6e-ba9b52b14f7e" providerId="ADAL" clId="{71072DA8-F139-4CCE-A23F-D9ACB350D996}" dt="2025-11-19T18:47:59.936" v="11495" actId="478"/>
          <ac:picMkLst>
            <pc:docMk/>
            <pc:sldMk cId="3976221406" sldId="2420"/>
            <ac:picMk id="6" creationId="{B84BF2E4-5FE7-815A-05A2-06C4DBC2A356}"/>
          </ac:picMkLst>
        </pc:picChg>
        <pc:picChg chg="add mod">
          <ac:chgData name="Twila Cruickshank" userId="4e6a8caa-e860-4113-aa6e-ba9b52b14f7e" providerId="ADAL" clId="{71072DA8-F139-4CCE-A23F-D9ACB350D996}" dt="2025-11-19T18:48:41.783" v="11503" actId="14100"/>
          <ac:picMkLst>
            <pc:docMk/>
            <pc:sldMk cId="3976221406" sldId="2420"/>
            <ac:picMk id="8" creationId="{BA058E1E-5047-96DF-0BEB-FADF65F465D6}"/>
          </ac:picMkLst>
        </pc:picChg>
        <pc:picChg chg="del">
          <ac:chgData name="Twila Cruickshank" userId="4e6a8caa-e860-4113-aa6e-ba9b52b14f7e" providerId="ADAL" clId="{71072DA8-F139-4CCE-A23F-D9ACB350D996}" dt="2025-11-18T20:23:46.709" v="6875" actId="478"/>
          <ac:picMkLst>
            <pc:docMk/>
            <pc:sldMk cId="3976221406" sldId="2420"/>
            <ac:picMk id="12" creationId="{D7C51F04-A44D-5E42-4954-DA12DB7EB0A9}"/>
          </ac:picMkLst>
        </pc:picChg>
      </pc:sldChg>
      <pc:sldChg chg="addSp delSp modSp mod ord modNotesTx">
        <pc:chgData name="Twila Cruickshank" userId="4e6a8caa-e860-4113-aa6e-ba9b52b14f7e" providerId="ADAL" clId="{71072DA8-F139-4CCE-A23F-D9ACB350D996}" dt="2025-11-19T00:41:52.042" v="9032" actId="14100"/>
        <pc:sldMkLst>
          <pc:docMk/>
          <pc:sldMk cId="3000045487" sldId="2422"/>
        </pc:sldMkLst>
        <pc:spChg chg="mod">
          <ac:chgData name="Twila Cruickshank" userId="4e6a8caa-e860-4113-aa6e-ba9b52b14f7e" providerId="ADAL" clId="{71072DA8-F139-4CCE-A23F-D9ACB350D996}" dt="2025-11-17T23:52:16.463" v="5122" actId="113"/>
          <ac:spMkLst>
            <pc:docMk/>
            <pc:sldMk cId="3000045487" sldId="2422"/>
            <ac:spMk id="2" creationId="{41568458-8FAC-2471-5C0C-1AAE93714732}"/>
          </ac:spMkLst>
        </pc:spChg>
        <pc:spChg chg="mod">
          <ac:chgData name="Twila Cruickshank" userId="4e6a8caa-e860-4113-aa6e-ba9b52b14f7e" providerId="ADAL" clId="{71072DA8-F139-4CCE-A23F-D9ACB350D996}" dt="2025-11-17T23:52:06.468" v="5120" actId="113"/>
          <ac:spMkLst>
            <pc:docMk/>
            <pc:sldMk cId="3000045487" sldId="2422"/>
            <ac:spMk id="3" creationId="{C02E9C17-6A42-504B-AD1F-C481623F143A}"/>
          </ac:spMkLst>
        </pc:spChg>
        <pc:spChg chg="mod">
          <ac:chgData name="Twila Cruickshank" userId="4e6a8caa-e860-4113-aa6e-ba9b52b14f7e" providerId="ADAL" clId="{71072DA8-F139-4CCE-A23F-D9ACB350D996}" dt="2025-11-17T23:51:58.444" v="5119" actId="113"/>
          <ac:spMkLst>
            <pc:docMk/>
            <pc:sldMk cId="3000045487" sldId="2422"/>
            <ac:spMk id="6" creationId="{42D816F0-CFA3-6EC7-59FC-D86C4AA0EE0B}"/>
          </ac:spMkLst>
        </pc:spChg>
        <pc:spChg chg="add mod">
          <ac:chgData name="Twila Cruickshank" userId="4e6a8caa-e860-4113-aa6e-ba9b52b14f7e" providerId="ADAL" clId="{71072DA8-F139-4CCE-A23F-D9ACB350D996}" dt="2025-11-19T00:41:52.042" v="9032" actId="14100"/>
          <ac:spMkLst>
            <pc:docMk/>
            <pc:sldMk cId="3000045487" sldId="2422"/>
            <ac:spMk id="7" creationId="{1DD9E20B-3B9B-D582-5AE2-6145A5C6894B}"/>
          </ac:spMkLst>
        </pc:spChg>
        <pc:spChg chg="add mod">
          <ac:chgData name="Twila Cruickshank" userId="4e6a8caa-e860-4113-aa6e-ba9b52b14f7e" providerId="ADAL" clId="{71072DA8-F139-4CCE-A23F-D9ACB350D996}" dt="2025-11-17T20:43:40.815" v="3722" actId="1076"/>
          <ac:spMkLst>
            <pc:docMk/>
            <pc:sldMk cId="3000045487" sldId="2422"/>
            <ac:spMk id="8" creationId="{3F546242-5FE3-C772-6AB5-7D2CE1C461F0}"/>
          </ac:spMkLst>
        </pc:spChg>
        <pc:spChg chg="add mod">
          <ac:chgData name="Twila Cruickshank" userId="4e6a8caa-e860-4113-aa6e-ba9b52b14f7e" providerId="ADAL" clId="{71072DA8-F139-4CCE-A23F-D9ACB350D996}" dt="2025-11-17T20:37:37.714" v="3650" actId="1076"/>
          <ac:spMkLst>
            <pc:docMk/>
            <pc:sldMk cId="3000045487" sldId="2422"/>
            <ac:spMk id="9" creationId="{CF12F62A-A175-2AF1-4AC6-54C317E2A880}"/>
          </ac:spMkLst>
        </pc:spChg>
        <pc:spChg chg="mod">
          <ac:chgData name="Twila Cruickshank" userId="4e6a8caa-e860-4113-aa6e-ba9b52b14f7e" providerId="ADAL" clId="{71072DA8-F139-4CCE-A23F-D9ACB350D996}" dt="2025-11-17T20:35:31.152" v="3604" actId="20577"/>
          <ac:spMkLst>
            <pc:docMk/>
            <pc:sldMk cId="3000045487" sldId="2422"/>
            <ac:spMk id="10" creationId="{A6CD1015-C49F-FFA4-10C5-C8D158D51CF6}"/>
          </ac:spMkLst>
        </pc:spChg>
        <pc:spChg chg="add mod">
          <ac:chgData name="Twila Cruickshank" userId="4e6a8caa-e860-4113-aa6e-ba9b52b14f7e" providerId="ADAL" clId="{71072DA8-F139-4CCE-A23F-D9ACB350D996}" dt="2025-11-17T20:43:44.800" v="3723" actId="1076"/>
          <ac:spMkLst>
            <pc:docMk/>
            <pc:sldMk cId="3000045487" sldId="2422"/>
            <ac:spMk id="11" creationId="{24382F67-F29E-6366-57EE-8C9123357CEA}"/>
          </ac:spMkLst>
        </pc:spChg>
        <pc:spChg chg="mod">
          <ac:chgData name="Twila Cruickshank" userId="4e6a8caa-e860-4113-aa6e-ba9b52b14f7e" providerId="ADAL" clId="{71072DA8-F139-4CCE-A23F-D9ACB350D996}" dt="2025-11-17T23:52:22.090" v="5123" actId="113"/>
          <ac:spMkLst>
            <pc:docMk/>
            <pc:sldMk cId="3000045487" sldId="2422"/>
            <ac:spMk id="17" creationId="{405EFA90-A673-FBBA-B418-17311E8A3DB7}"/>
          </ac:spMkLst>
        </pc:spChg>
        <pc:spChg chg="mod">
          <ac:chgData name="Twila Cruickshank" userId="4e6a8caa-e860-4113-aa6e-ba9b52b14f7e" providerId="ADAL" clId="{71072DA8-F139-4CCE-A23F-D9ACB350D996}" dt="2025-11-17T20:35:52.349" v="3632" actId="20577"/>
          <ac:spMkLst>
            <pc:docMk/>
            <pc:sldMk cId="3000045487" sldId="2422"/>
            <ac:spMk id="27" creationId="{FE83A0CD-9D9A-24C3-5814-3869DCAF4033}"/>
          </ac:spMkLst>
        </pc:spChg>
        <pc:spChg chg="mod">
          <ac:chgData name="Twila Cruickshank" userId="4e6a8caa-e860-4113-aa6e-ba9b52b14f7e" providerId="ADAL" clId="{71072DA8-F139-4CCE-A23F-D9ACB350D996}" dt="2025-11-17T20:44:03.254" v="3748" actId="6549"/>
          <ac:spMkLst>
            <pc:docMk/>
            <pc:sldMk cId="3000045487" sldId="2422"/>
            <ac:spMk id="30" creationId="{B1294A09-646E-1850-5C0D-8B063AB84CC6}"/>
          </ac:spMkLst>
        </pc:spChg>
        <pc:graphicFrameChg chg="add mod modGraphic">
          <ac:chgData name="Twila Cruickshank" userId="4e6a8caa-e860-4113-aa6e-ba9b52b14f7e" providerId="ADAL" clId="{71072DA8-F139-4CCE-A23F-D9ACB350D996}" dt="2025-11-17T20:43:31.502" v="3721" actId="14100"/>
          <ac:graphicFrameMkLst>
            <pc:docMk/>
            <pc:sldMk cId="3000045487" sldId="2422"/>
            <ac:graphicFrameMk id="14" creationId="{A20E7F7E-99F0-4AC6-F6EA-43F8560E1D7C}"/>
          </ac:graphicFrameMkLst>
        </pc:graphicFrameChg>
        <pc:graphicFrameChg chg="add mod modGraphic">
          <ac:chgData name="Twila Cruickshank" userId="4e6a8caa-e860-4113-aa6e-ba9b52b14f7e" providerId="ADAL" clId="{71072DA8-F139-4CCE-A23F-D9ACB350D996}" dt="2025-11-17T20:41:41.630" v="3709" actId="14100"/>
          <ac:graphicFrameMkLst>
            <pc:docMk/>
            <pc:sldMk cId="3000045487" sldId="2422"/>
            <ac:graphicFrameMk id="15" creationId="{EA2AE9ED-C80C-D6D2-337D-BD0B4B871CB5}"/>
          </ac:graphicFrameMkLst>
        </pc:graphicFrameChg>
        <pc:graphicFrameChg chg="add mod modGraphic">
          <ac:chgData name="Twila Cruickshank" userId="4e6a8caa-e860-4113-aa6e-ba9b52b14f7e" providerId="ADAL" clId="{71072DA8-F139-4CCE-A23F-D9ACB350D996}" dt="2025-11-17T20:43:20.533" v="3718" actId="14100"/>
          <ac:graphicFrameMkLst>
            <pc:docMk/>
            <pc:sldMk cId="3000045487" sldId="2422"/>
            <ac:graphicFrameMk id="16" creationId="{66EB1AEA-B467-1A90-16D4-9431C3942819}"/>
          </ac:graphicFrameMkLst>
        </pc:graphicFrameChg>
        <pc:picChg chg="add del mod">
          <ac:chgData name="Twila Cruickshank" userId="4e6a8caa-e860-4113-aa6e-ba9b52b14f7e" providerId="ADAL" clId="{71072DA8-F139-4CCE-A23F-D9ACB350D996}" dt="2025-11-19T00:41:46.925" v="9031" actId="478"/>
          <ac:picMkLst>
            <pc:docMk/>
            <pc:sldMk cId="3000045487" sldId="2422"/>
            <ac:picMk id="5" creationId="{85C53D2C-6AAE-5410-8302-3E2E02F863CC}"/>
          </ac:picMkLst>
        </pc:picChg>
      </pc:sldChg>
      <pc:sldChg chg="modSp mod modShow">
        <pc:chgData name="Twila Cruickshank" userId="4e6a8caa-e860-4113-aa6e-ba9b52b14f7e" providerId="ADAL" clId="{71072DA8-F139-4CCE-A23F-D9ACB350D996}" dt="2025-11-18T22:36:15.218" v="7458" actId="729"/>
        <pc:sldMkLst>
          <pc:docMk/>
          <pc:sldMk cId="1466365395" sldId="2423"/>
        </pc:sldMkLst>
        <pc:spChg chg="mod">
          <ac:chgData name="Twila Cruickshank" userId="4e6a8caa-e860-4113-aa6e-ba9b52b14f7e" providerId="ADAL" clId="{71072DA8-F139-4CCE-A23F-D9ACB350D996}" dt="2025-11-14T22:03:17.975" v="2245" actId="115"/>
          <ac:spMkLst>
            <pc:docMk/>
            <pc:sldMk cId="1466365395" sldId="2423"/>
            <ac:spMk id="2" creationId="{0FAEC7EB-16BE-F923-7555-3C98EB48C32C}"/>
          </ac:spMkLst>
        </pc:spChg>
      </pc:sldChg>
      <pc:sldChg chg="del">
        <pc:chgData name="Twila Cruickshank" userId="4e6a8caa-e860-4113-aa6e-ba9b52b14f7e" providerId="ADAL" clId="{71072DA8-F139-4CCE-A23F-D9ACB350D996}" dt="2025-11-18T22:37:52.372" v="7460" actId="47"/>
        <pc:sldMkLst>
          <pc:docMk/>
          <pc:sldMk cId="1307335312" sldId="2424"/>
        </pc:sldMkLst>
      </pc:sldChg>
      <pc:sldChg chg="modSp add mod modNotesTx">
        <pc:chgData name="Twila Cruickshank" userId="4e6a8caa-e860-4113-aa6e-ba9b52b14f7e" providerId="ADAL" clId="{71072DA8-F139-4CCE-A23F-D9ACB350D996}" dt="2025-11-19T19:02:58.220" v="12058" actId="6549"/>
        <pc:sldMkLst>
          <pc:docMk/>
          <pc:sldMk cId="700853761" sldId="2425"/>
        </pc:sldMkLst>
        <pc:spChg chg="mod">
          <ac:chgData name="Twila Cruickshank" userId="4e6a8caa-e860-4113-aa6e-ba9b52b14f7e" providerId="ADAL" clId="{71072DA8-F139-4CCE-A23F-D9ACB350D996}" dt="2025-11-17T19:52:33.536" v="3014" actId="20577"/>
          <ac:spMkLst>
            <pc:docMk/>
            <pc:sldMk cId="700853761" sldId="2425"/>
            <ac:spMk id="6" creationId="{6E2BA917-A566-7060-DCE3-FBC01A32E18E}"/>
          </ac:spMkLst>
        </pc:spChg>
        <pc:spChg chg="mod">
          <ac:chgData name="Twila Cruickshank" userId="4e6a8caa-e860-4113-aa6e-ba9b52b14f7e" providerId="ADAL" clId="{71072DA8-F139-4CCE-A23F-D9ACB350D996}" dt="2025-11-17T19:52:39.449" v="3029" actId="20577"/>
          <ac:spMkLst>
            <pc:docMk/>
            <pc:sldMk cId="700853761" sldId="2425"/>
            <ac:spMk id="17" creationId="{48538BDC-560B-AE71-8F07-56A59E1A3B2D}"/>
          </ac:spMkLst>
        </pc:spChg>
        <pc:spChg chg="mod">
          <ac:chgData name="Twila Cruickshank" userId="4e6a8caa-e860-4113-aa6e-ba9b52b14f7e" providerId="ADAL" clId="{71072DA8-F139-4CCE-A23F-D9ACB350D996}" dt="2025-11-14T21:24:48.188" v="1393" actId="20577"/>
          <ac:spMkLst>
            <pc:docMk/>
            <pc:sldMk cId="700853761" sldId="2425"/>
            <ac:spMk id="25" creationId="{C0614A55-1983-3A6B-0B4D-A265BF257ADA}"/>
          </ac:spMkLst>
        </pc:spChg>
        <pc:spChg chg="mod">
          <ac:chgData name="Twila Cruickshank" userId="4e6a8caa-e860-4113-aa6e-ba9b52b14f7e" providerId="ADAL" clId="{71072DA8-F139-4CCE-A23F-D9ACB350D996}" dt="2025-11-14T21:23:56.053" v="1389" actId="20577"/>
          <ac:spMkLst>
            <pc:docMk/>
            <pc:sldMk cId="700853761" sldId="2425"/>
            <ac:spMk id="26" creationId="{BDA9CBF6-68BB-C110-96F0-73D2642B7DBA}"/>
          </ac:spMkLst>
        </pc:spChg>
        <pc:spChg chg="mod">
          <ac:chgData name="Twila Cruickshank" userId="4e6a8caa-e860-4113-aa6e-ba9b52b14f7e" providerId="ADAL" clId="{71072DA8-F139-4CCE-A23F-D9ACB350D996}" dt="2025-11-18T23:04:05.825" v="7693" actId="6549"/>
          <ac:spMkLst>
            <pc:docMk/>
            <pc:sldMk cId="700853761" sldId="2425"/>
            <ac:spMk id="38" creationId="{B5C751A7-CA89-D1EA-5AE7-CDF693942DA4}"/>
          </ac:spMkLst>
        </pc:spChg>
        <pc:picChg chg="mod">
          <ac:chgData name="Twila Cruickshank" userId="4e6a8caa-e860-4113-aa6e-ba9b52b14f7e" providerId="ADAL" clId="{71072DA8-F139-4CCE-A23F-D9ACB350D996}" dt="2025-11-14T21:16:31.702" v="1216" actId="1076"/>
          <ac:picMkLst>
            <pc:docMk/>
            <pc:sldMk cId="700853761" sldId="2425"/>
            <ac:picMk id="8" creationId="{B0645F4C-36D0-F459-98C3-8E2D9D1ACE93}"/>
          </ac:picMkLst>
        </pc:picChg>
      </pc:sldChg>
      <pc:sldChg chg="addSp delSp modSp add mod ord modNotesTx">
        <pc:chgData name="Twila Cruickshank" userId="4e6a8caa-e860-4113-aa6e-ba9b52b14f7e" providerId="ADAL" clId="{71072DA8-F139-4CCE-A23F-D9ACB350D996}" dt="2025-11-19T19:04:25.730" v="12062" actId="20577"/>
        <pc:sldMkLst>
          <pc:docMk/>
          <pc:sldMk cId="2072062353" sldId="2426"/>
        </pc:sldMkLst>
        <pc:spChg chg="mod">
          <ac:chgData name="Twila Cruickshank" userId="4e6a8caa-e860-4113-aa6e-ba9b52b14f7e" providerId="ADAL" clId="{71072DA8-F139-4CCE-A23F-D9ACB350D996}" dt="2025-11-19T19:04:25.730" v="12062" actId="20577"/>
          <ac:spMkLst>
            <pc:docMk/>
            <pc:sldMk cId="2072062353" sldId="2426"/>
            <ac:spMk id="2" creationId="{2E09A96F-D7D5-DD2F-E8B1-C736E955EB55}"/>
          </ac:spMkLst>
        </pc:spChg>
        <pc:spChg chg="mod">
          <ac:chgData name="Twila Cruickshank" userId="4e6a8caa-e860-4113-aa6e-ba9b52b14f7e" providerId="ADAL" clId="{71072DA8-F139-4CCE-A23F-D9ACB350D996}" dt="2025-11-18T23:09:52.177" v="7935" actId="6549"/>
          <ac:spMkLst>
            <pc:docMk/>
            <pc:sldMk cId="2072062353" sldId="2426"/>
            <ac:spMk id="3" creationId="{7536C591-44BA-1FF4-A8B2-01E716416D14}"/>
          </ac:spMkLst>
        </pc:spChg>
        <pc:spChg chg="mod">
          <ac:chgData name="Twila Cruickshank" userId="4e6a8caa-e860-4113-aa6e-ba9b52b14f7e" providerId="ADAL" clId="{71072DA8-F139-4CCE-A23F-D9ACB350D996}" dt="2025-11-18T23:10:02.054" v="7937" actId="20577"/>
          <ac:spMkLst>
            <pc:docMk/>
            <pc:sldMk cId="2072062353" sldId="2426"/>
            <ac:spMk id="6" creationId="{B5E48D9B-2B0B-ACDA-5F56-144C53DEC424}"/>
          </ac:spMkLst>
        </pc:spChg>
        <pc:spChg chg="mod">
          <ac:chgData name="Twila Cruickshank" userId="4e6a8caa-e860-4113-aa6e-ba9b52b14f7e" providerId="ADAL" clId="{71072DA8-F139-4CCE-A23F-D9ACB350D996}" dt="2025-11-18T00:18:28.401" v="5423" actId="20577"/>
          <ac:spMkLst>
            <pc:docMk/>
            <pc:sldMk cId="2072062353" sldId="2426"/>
            <ac:spMk id="10" creationId="{C94D973B-2D6B-70F5-2C48-EA06CB3104E1}"/>
          </ac:spMkLst>
        </pc:spChg>
        <pc:spChg chg="mod">
          <ac:chgData name="Twila Cruickshank" userId="4e6a8caa-e860-4113-aa6e-ba9b52b14f7e" providerId="ADAL" clId="{71072DA8-F139-4CCE-A23F-D9ACB350D996}" dt="2025-11-18T00:18:20.596" v="5421" actId="20577"/>
          <ac:spMkLst>
            <pc:docMk/>
            <pc:sldMk cId="2072062353" sldId="2426"/>
            <ac:spMk id="17" creationId="{61F0001B-439D-5734-78D2-9F0FCE448594}"/>
          </ac:spMkLst>
        </pc:spChg>
        <pc:spChg chg="mod">
          <ac:chgData name="Twila Cruickshank" userId="4e6a8caa-e860-4113-aa6e-ba9b52b14f7e" providerId="ADAL" clId="{71072DA8-F139-4CCE-A23F-D9ACB350D996}" dt="2025-11-18T00:08:03.965" v="5371" actId="20577"/>
          <ac:spMkLst>
            <pc:docMk/>
            <pc:sldMk cId="2072062353" sldId="2426"/>
            <ac:spMk id="30" creationId="{7F0B8DC2-A304-5F54-6B9A-6EEDB893EA11}"/>
          </ac:spMkLst>
        </pc:spChg>
        <pc:spChg chg="mod">
          <ac:chgData name="Twila Cruickshank" userId="4e6a8caa-e860-4113-aa6e-ba9b52b14f7e" providerId="ADAL" clId="{71072DA8-F139-4CCE-A23F-D9ACB350D996}" dt="2025-11-17T21:40:46.411" v="4246" actId="20577"/>
          <ac:spMkLst>
            <pc:docMk/>
            <pc:sldMk cId="2072062353" sldId="2426"/>
            <ac:spMk id="39" creationId="{5C40D557-249A-7697-F588-B9BDEA74C398}"/>
          </ac:spMkLst>
        </pc:spChg>
        <pc:graphicFrameChg chg="del">
          <ac:chgData name="Twila Cruickshank" userId="4e6a8caa-e860-4113-aa6e-ba9b52b14f7e" providerId="ADAL" clId="{71072DA8-F139-4CCE-A23F-D9ACB350D996}" dt="2025-11-18T00:06:50.502" v="5358" actId="478"/>
          <ac:graphicFrameMkLst>
            <pc:docMk/>
            <pc:sldMk cId="2072062353" sldId="2426"/>
            <ac:graphicFrameMk id="4" creationId="{0ACB3BCB-4E1B-3294-E04C-E3C244319A39}"/>
          </ac:graphicFrameMkLst>
        </pc:graphicFrameChg>
        <pc:graphicFrameChg chg="add del mod">
          <ac:chgData name="Twila Cruickshank" userId="4e6a8caa-e860-4113-aa6e-ba9b52b14f7e" providerId="ADAL" clId="{71072DA8-F139-4CCE-A23F-D9ACB350D996}" dt="2025-11-18T00:07:10.701" v="5364" actId="478"/>
          <ac:graphicFrameMkLst>
            <pc:docMk/>
            <pc:sldMk cId="2072062353" sldId="2426"/>
            <ac:graphicFrameMk id="5" creationId="{58D3D6B9-A6C8-5005-45D0-9C8E497E078F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8T00:07:59.880" v="5370" actId="6549"/>
          <ac:graphicFrameMkLst>
            <pc:docMk/>
            <pc:sldMk cId="2072062353" sldId="2426"/>
            <ac:graphicFrameMk id="7" creationId="{58D3D6B9-A6C8-5005-45D0-9C8E497E078F}"/>
          </ac:graphicFrameMkLst>
        </pc:graphicFrameChg>
      </pc:sldChg>
      <pc:sldChg chg="addSp delSp modSp add mod modClrScheme chgLayout modNotesTx">
        <pc:chgData name="Twila Cruickshank" userId="4e6a8caa-e860-4113-aa6e-ba9b52b14f7e" providerId="ADAL" clId="{71072DA8-F139-4CCE-A23F-D9ACB350D996}" dt="2025-11-19T19:05:17.652" v="12063" actId="27918"/>
        <pc:sldMkLst>
          <pc:docMk/>
          <pc:sldMk cId="4286545936" sldId="2427"/>
        </pc:sldMkLst>
        <pc:spChg chg="add mod ord">
          <ac:chgData name="Twila Cruickshank" userId="4e6a8caa-e860-4113-aa6e-ba9b52b14f7e" providerId="ADAL" clId="{71072DA8-F139-4CCE-A23F-D9ACB350D996}" dt="2025-11-17T22:24:50.186" v="4538" actId="1076"/>
          <ac:spMkLst>
            <pc:docMk/>
            <pc:sldMk cId="4286545936" sldId="2427"/>
            <ac:spMk id="8" creationId="{04497282-97AE-9B12-2B91-5B6BBE440B65}"/>
          </ac:spMkLst>
        </pc:spChg>
        <pc:spChg chg="add mod ord">
          <ac:chgData name="Twila Cruickshank" userId="4e6a8caa-e860-4113-aa6e-ba9b52b14f7e" providerId="ADAL" clId="{71072DA8-F139-4CCE-A23F-D9ACB350D996}" dt="2025-11-17T21:43:10.156" v="4268" actId="700"/>
          <ac:spMkLst>
            <pc:docMk/>
            <pc:sldMk cId="4286545936" sldId="2427"/>
            <ac:spMk id="9" creationId="{C2ECE385-5A36-61CD-7930-CA34B9312FEC}"/>
          </ac:spMkLst>
        </pc:spChg>
        <pc:spChg chg="mod ord">
          <ac:chgData name="Twila Cruickshank" userId="4e6a8caa-e860-4113-aa6e-ba9b52b14f7e" providerId="ADAL" clId="{71072DA8-F139-4CCE-A23F-D9ACB350D996}" dt="2025-11-17T22:48:32.062" v="4588" actId="20577"/>
          <ac:spMkLst>
            <pc:docMk/>
            <pc:sldMk cId="4286545936" sldId="2427"/>
            <ac:spMk id="10" creationId="{818B906E-3722-E782-396D-CA8772B065EA}"/>
          </ac:spMkLst>
        </pc:spChg>
        <pc:spChg chg="mod">
          <ac:chgData name="Twila Cruickshank" userId="4e6a8caa-e860-4113-aa6e-ba9b52b14f7e" providerId="ADAL" clId="{71072DA8-F139-4CCE-A23F-D9ACB350D996}" dt="2025-11-18T00:18:52.405" v="5430" actId="6549"/>
          <ac:spMkLst>
            <pc:docMk/>
            <pc:sldMk cId="4286545936" sldId="2427"/>
            <ac:spMk id="27" creationId="{2F8D9CC4-2262-C353-F78F-199EB7DAFE3B}"/>
          </ac:spMkLst>
        </pc:spChg>
        <pc:spChg chg="mod">
          <ac:chgData name="Twila Cruickshank" userId="4e6a8caa-e860-4113-aa6e-ba9b52b14f7e" providerId="ADAL" clId="{71072DA8-F139-4CCE-A23F-D9ACB350D996}" dt="2025-11-17T22:48:26.612" v="4578" actId="20577"/>
          <ac:spMkLst>
            <pc:docMk/>
            <pc:sldMk cId="4286545936" sldId="2427"/>
            <ac:spMk id="30" creationId="{519EB4BC-641E-57B7-6A59-36F484F4DD27}"/>
          </ac:spMkLst>
        </pc:spChg>
        <pc:graphicFrameChg chg="add mod modGraphic">
          <ac:chgData name="Twila Cruickshank" userId="4e6a8caa-e860-4113-aa6e-ba9b52b14f7e" providerId="ADAL" clId="{71072DA8-F139-4CCE-A23F-D9ACB350D996}" dt="2025-11-18T23:13:12.118" v="8110" actId="20577"/>
          <ac:graphicFrameMkLst>
            <pc:docMk/>
            <pc:sldMk cId="4286545936" sldId="2427"/>
            <ac:graphicFrameMk id="11" creationId="{A05F65A1-5B5B-D6F7-934D-055CD61C7BBF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8T00:21:24.382" v="5434" actId="14100"/>
          <ac:graphicFrameMkLst>
            <pc:docMk/>
            <pc:sldMk cId="4286545936" sldId="2427"/>
            <ac:graphicFrameMk id="14" creationId="{FBC9F845-0C57-86DB-342D-C97D213FDCAB}"/>
          </ac:graphicFrameMkLst>
        </pc:graphicFrameChg>
      </pc:sldChg>
      <pc:sldChg chg="addSp delSp modSp add mod modNotesTx">
        <pc:chgData name="Twila Cruickshank" userId="4e6a8caa-e860-4113-aa6e-ba9b52b14f7e" providerId="ADAL" clId="{71072DA8-F139-4CCE-A23F-D9ACB350D996}" dt="2025-11-19T19:11:18.157" v="12455"/>
        <pc:sldMkLst>
          <pc:docMk/>
          <pc:sldMk cId="3033348567" sldId="2428"/>
        </pc:sldMkLst>
        <pc:spChg chg="add del mod">
          <ac:chgData name="Twila Cruickshank" userId="4e6a8caa-e860-4113-aa6e-ba9b52b14f7e" providerId="ADAL" clId="{71072DA8-F139-4CCE-A23F-D9ACB350D996}" dt="2025-11-18T21:48:10.876" v="7271"/>
          <ac:spMkLst>
            <pc:docMk/>
            <pc:sldMk cId="3033348567" sldId="2428"/>
            <ac:spMk id="4" creationId="{3E4EF19A-CEB3-69A7-5864-F98325760F81}"/>
          </ac:spMkLst>
        </pc:spChg>
        <pc:spChg chg="mod">
          <ac:chgData name="Twila Cruickshank" userId="4e6a8caa-e860-4113-aa6e-ba9b52b14f7e" providerId="ADAL" clId="{71072DA8-F139-4CCE-A23F-D9ACB350D996}" dt="2025-11-19T16:57:55.720" v="9859" actId="20577"/>
          <ac:spMkLst>
            <pc:docMk/>
            <pc:sldMk cId="3033348567" sldId="2428"/>
            <ac:spMk id="8" creationId="{C4F1964A-092B-AE60-447B-793463034784}"/>
          </ac:spMkLst>
        </pc:spChg>
        <pc:spChg chg="mod">
          <ac:chgData name="Twila Cruickshank" userId="4e6a8caa-e860-4113-aa6e-ba9b52b14f7e" providerId="ADAL" clId="{71072DA8-F139-4CCE-A23F-D9ACB350D996}" dt="2025-11-17T23:14:20.664" v="4633" actId="20577"/>
          <ac:spMkLst>
            <pc:docMk/>
            <pc:sldMk cId="3033348567" sldId="2428"/>
            <ac:spMk id="10" creationId="{62A10D1A-9AD9-1B62-1382-29FD1BDB2327}"/>
          </ac:spMkLst>
        </pc:spChg>
        <pc:spChg chg="add mod">
          <ac:chgData name="Twila Cruickshank" userId="4e6a8caa-e860-4113-aa6e-ba9b52b14f7e" providerId="ADAL" clId="{71072DA8-F139-4CCE-A23F-D9ACB350D996}" dt="2025-11-18T20:31:23.724" v="6958" actId="14100"/>
          <ac:spMkLst>
            <pc:docMk/>
            <pc:sldMk cId="3033348567" sldId="2428"/>
            <ac:spMk id="24" creationId="{51A6C870-128E-E934-8803-094CBB3FEBB7}"/>
          </ac:spMkLst>
        </pc:spChg>
        <pc:spChg chg="mod">
          <ac:chgData name="Twila Cruickshank" userId="4e6a8caa-e860-4113-aa6e-ba9b52b14f7e" providerId="ADAL" clId="{71072DA8-F139-4CCE-A23F-D9ACB350D996}" dt="2025-11-17T23:27:22.375" v="4813" actId="20577"/>
          <ac:spMkLst>
            <pc:docMk/>
            <pc:sldMk cId="3033348567" sldId="2428"/>
            <ac:spMk id="27" creationId="{BB624822-77BB-E16B-FB29-6037DA14E2F4}"/>
          </ac:spMkLst>
        </pc:spChg>
        <pc:spChg chg="mod">
          <ac:chgData name="Twila Cruickshank" userId="4e6a8caa-e860-4113-aa6e-ba9b52b14f7e" providerId="ADAL" clId="{71072DA8-F139-4CCE-A23F-D9ACB350D996}" dt="2025-11-17T23:26:42.477" v="4796" actId="20577"/>
          <ac:spMkLst>
            <pc:docMk/>
            <pc:sldMk cId="3033348567" sldId="2428"/>
            <ac:spMk id="30" creationId="{F93D7877-CEAD-E0CD-15EE-246319A89F4D}"/>
          </ac:spMkLst>
        </pc:spChg>
        <pc:grpChg chg="mod">
          <ac:chgData name="Twila Cruickshank" userId="4e6a8caa-e860-4113-aa6e-ba9b52b14f7e" providerId="ADAL" clId="{71072DA8-F139-4CCE-A23F-D9ACB350D996}" dt="2025-11-17T23:24:12.154" v="4774" actId="1076"/>
          <ac:grpSpMkLst>
            <pc:docMk/>
            <pc:sldMk cId="3033348567" sldId="2428"/>
            <ac:grpSpMk id="25" creationId="{97F3A76D-0241-E74D-4CF8-53D84145AA73}"/>
          </ac:grpSpMkLst>
        </pc:grpChg>
        <pc:graphicFrameChg chg="add del mod">
          <ac:chgData name="Twila Cruickshank" userId="4e6a8caa-e860-4113-aa6e-ba9b52b14f7e" providerId="ADAL" clId="{71072DA8-F139-4CCE-A23F-D9ACB350D996}" dt="2025-11-18T21:46:05.660" v="7097" actId="478"/>
          <ac:graphicFrameMkLst>
            <pc:docMk/>
            <pc:sldMk cId="3033348567" sldId="2428"/>
            <ac:graphicFrameMk id="2" creationId="{DB2BA3FA-5C6E-D815-8FEF-E0BE59D13619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8T21:52:32.675" v="7443" actId="14100"/>
          <ac:graphicFrameMkLst>
            <pc:docMk/>
            <pc:sldMk cId="3033348567" sldId="2428"/>
            <ac:graphicFrameMk id="5" creationId="{DB2BA3FA-5C6E-D815-8FEF-E0BE59D13619}"/>
          </ac:graphicFrameMkLst>
        </pc:graphicFrameChg>
        <pc:graphicFrameChg chg="add del mod">
          <ac:chgData name="Twila Cruickshank" userId="4e6a8caa-e860-4113-aa6e-ba9b52b14f7e" providerId="ADAL" clId="{71072DA8-F139-4CCE-A23F-D9ACB350D996}" dt="2025-11-18T21:45:42.028" v="7095" actId="478"/>
          <ac:graphicFrameMkLst>
            <pc:docMk/>
            <pc:sldMk cId="3033348567" sldId="2428"/>
            <ac:graphicFrameMk id="6" creationId="{09D9DE43-9A0A-2D59-D683-C6C85BE996B2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7T23:23:06.441" v="4767" actId="1076"/>
          <ac:graphicFrameMkLst>
            <pc:docMk/>
            <pc:sldMk cId="3033348567" sldId="2428"/>
            <ac:graphicFrameMk id="18" creationId="{931A60B0-E9E1-C5EC-254D-44F5F5E42FF0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9T19:11:18.157" v="12455"/>
          <ac:graphicFrameMkLst>
            <pc:docMk/>
            <pc:sldMk cId="3033348567" sldId="2428"/>
            <ac:graphicFrameMk id="31" creationId="{931A60B0-E9E1-C5EC-254D-44F5F5E42FF0}"/>
          </ac:graphicFrameMkLst>
        </pc:graphicFrameChg>
        <pc:cxnChg chg="mod">
          <ac:chgData name="Twila Cruickshank" userId="4e6a8caa-e860-4113-aa6e-ba9b52b14f7e" providerId="ADAL" clId="{71072DA8-F139-4CCE-A23F-D9ACB350D996}" dt="2025-11-17T23:24:12.154" v="4774" actId="1076"/>
          <ac:cxnSpMkLst>
            <pc:docMk/>
            <pc:sldMk cId="3033348567" sldId="2428"/>
            <ac:cxnSpMk id="26" creationId="{38C95104-2243-B1E5-62A3-E961570C7884}"/>
          </ac:cxnSpMkLst>
        </pc:cxnChg>
      </pc:sldChg>
      <pc:sldChg chg="addSp delSp modSp add mod modNotesTx">
        <pc:chgData name="Twila Cruickshank" userId="4e6a8caa-e860-4113-aa6e-ba9b52b14f7e" providerId="ADAL" clId="{71072DA8-F139-4CCE-A23F-D9ACB350D996}" dt="2025-11-19T01:26:00.594" v="9556" actId="20577"/>
        <pc:sldMkLst>
          <pc:docMk/>
          <pc:sldMk cId="3482221357" sldId="2429"/>
        </pc:sldMkLst>
        <pc:spChg chg="mod">
          <ac:chgData name="Twila Cruickshank" userId="4e6a8caa-e860-4113-aa6e-ba9b52b14f7e" providerId="ADAL" clId="{71072DA8-F139-4CCE-A23F-D9ACB350D996}" dt="2025-11-19T01:23:16.705" v="9486" actId="20577"/>
          <ac:spMkLst>
            <pc:docMk/>
            <pc:sldMk cId="3482221357" sldId="2429"/>
            <ac:spMk id="3" creationId="{9301540B-4749-83E9-01E7-5BA09640819D}"/>
          </ac:spMkLst>
        </pc:spChg>
        <pc:spChg chg="mod">
          <ac:chgData name="Twila Cruickshank" userId="4e6a8caa-e860-4113-aa6e-ba9b52b14f7e" providerId="ADAL" clId="{71072DA8-F139-4CCE-A23F-D9ACB350D996}" dt="2025-11-19T01:22:46.569" v="9407" actId="20577"/>
          <ac:spMkLst>
            <pc:docMk/>
            <pc:sldMk cId="3482221357" sldId="2429"/>
            <ac:spMk id="5" creationId="{1A519C86-7292-D0C1-E5A4-66857E81335D}"/>
          </ac:spMkLst>
        </pc:spChg>
        <pc:spChg chg="mod">
          <ac:chgData name="Twila Cruickshank" userId="4e6a8caa-e860-4113-aa6e-ba9b52b14f7e" providerId="ADAL" clId="{71072DA8-F139-4CCE-A23F-D9ACB350D996}" dt="2025-11-19T01:18:41.212" v="9067"/>
          <ac:spMkLst>
            <pc:docMk/>
            <pc:sldMk cId="3482221357" sldId="2429"/>
            <ac:spMk id="9" creationId="{D47A7FC4-350F-9DB1-B6B4-32421C0A6BC5}"/>
          </ac:spMkLst>
        </pc:spChg>
        <pc:spChg chg="mod">
          <ac:chgData name="Twila Cruickshank" userId="4e6a8caa-e860-4113-aa6e-ba9b52b14f7e" providerId="ADAL" clId="{71072DA8-F139-4CCE-A23F-D9ACB350D996}" dt="2025-11-19T01:26:00.594" v="9556" actId="20577"/>
          <ac:spMkLst>
            <pc:docMk/>
            <pc:sldMk cId="3482221357" sldId="2429"/>
            <ac:spMk id="10" creationId="{68B57811-66BB-37C2-55EF-89CEDEA4C441}"/>
          </ac:spMkLst>
        </pc:spChg>
        <pc:spChg chg="mod">
          <ac:chgData name="Twila Cruickshank" userId="4e6a8caa-e860-4113-aa6e-ba9b52b14f7e" providerId="ADAL" clId="{71072DA8-F139-4CCE-A23F-D9ACB350D996}" dt="2025-11-19T01:19:22.104" v="9105" actId="20577"/>
          <ac:spMkLst>
            <pc:docMk/>
            <pc:sldMk cId="3482221357" sldId="2429"/>
            <ac:spMk id="11" creationId="{3FE30800-B632-AC33-DD08-FD50FCC716D7}"/>
          </ac:spMkLst>
        </pc:spChg>
        <pc:spChg chg="mod">
          <ac:chgData name="Twila Cruickshank" userId="4e6a8caa-e860-4113-aa6e-ba9b52b14f7e" providerId="ADAL" clId="{71072DA8-F139-4CCE-A23F-D9ACB350D996}" dt="2025-11-18T00:32:14.675" v="5651" actId="6549"/>
          <ac:spMkLst>
            <pc:docMk/>
            <pc:sldMk cId="3482221357" sldId="2429"/>
            <ac:spMk id="13" creationId="{D83E9EE2-3390-4997-959F-C5D8BF25AF5C}"/>
          </ac:spMkLst>
        </pc:spChg>
        <pc:picChg chg="add mod">
          <ac:chgData name="Twila Cruickshank" userId="4e6a8caa-e860-4113-aa6e-ba9b52b14f7e" providerId="ADAL" clId="{71072DA8-F139-4CCE-A23F-D9ACB350D996}" dt="2025-11-19T01:24:14.344" v="9495" actId="14100"/>
          <ac:picMkLst>
            <pc:docMk/>
            <pc:sldMk cId="3482221357" sldId="2429"/>
            <ac:picMk id="4" creationId="{897123A6-1AC4-B746-5FF0-9902C8948A54}"/>
          </ac:picMkLst>
        </pc:picChg>
        <pc:picChg chg="del">
          <ac:chgData name="Twila Cruickshank" userId="4e6a8caa-e860-4113-aa6e-ba9b52b14f7e" providerId="ADAL" clId="{71072DA8-F139-4CCE-A23F-D9ACB350D996}" dt="2025-11-18T00:31:57.168" v="5634" actId="478"/>
          <ac:picMkLst>
            <pc:docMk/>
            <pc:sldMk cId="3482221357" sldId="2429"/>
            <ac:picMk id="4" creationId="{AC18154C-C80F-74DB-B613-E893087BBAA5}"/>
          </ac:picMkLst>
        </pc:picChg>
        <pc:picChg chg="add mod">
          <ac:chgData name="Twila Cruickshank" userId="4e6a8caa-e860-4113-aa6e-ba9b52b14f7e" providerId="ADAL" clId="{71072DA8-F139-4CCE-A23F-D9ACB350D996}" dt="2025-11-18T00:33:22.434" v="5659" actId="14100"/>
          <ac:picMkLst>
            <pc:docMk/>
            <pc:sldMk cId="3482221357" sldId="2429"/>
            <ac:picMk id="6" creationId="{0676BEB3-B506-0E2B-0BD1-892B26F5168F}"/>
          </ac:picMkLst>
        </pc:picChg>
        <pc:picChg chg="del">
          <ac:chgData name="Twila Cruickshank" userId="4e6a8caa-e860-4113-aa6e-ba9b52b14f7e" providerId="ADAL" clId="{71072DA8-F139-4CCE-A23F-D9ACB350D996}" dt="2025-11-18T00:31:59.623" v="5637" actId="478"/>
          <ac:picMkLst>
            <pc:docMk/>
            <pc:sldMk cId="3482221357" sldId="2429"/>
            <ac:picMk id="8" creationId="{9E9C6244-BAC8-03E4-0543-3E45316F9A93}"/>
          </ac:picMkLst>
        </pc:picChg>
        <pc:picChg chg="del">
          <ac:chgData name="Twila Cruickshank" userId="4e6a8caa-e860-4113-aa6e-ba9b52b14f7e" providerId="ADAL" clId="{71072DA8-F139-4CCE-A23F-D9ACB350D996}" dt="2025-11-18T00:31:58.070" v="5635" actId="478"/>
          <ac:picMkLst>
            <pc:docMk/>
            <pc:sldMk cId="3482221357" sldId="2429"/>
            <ac:picMk id="16" creationId="{B151F283-875B-3B72-D988-0FFF8451E550}"/>
          </ac:picMkLst>
        </pc:picChg>
        <pc:picChg chg="del">
          <ac:chgData name="Twila Cruickshank" userId="4e6a8caa-e860-4113-aa6e-ba9b52b14f7e" providerId="ADAL" clId="{71072DA8-F139-4CCE-A23F-D9ACB350D996}" dt="2025-11-18T00:31:58.789" v="5636" actId="478"/>
          <ac:picMkLst>
            <pc:docMk/>
            <pc:sldMk cId="3482221357" sldId="2429"/>
            <ac:picMk id="18" creationId="{DD07C37D-F4C1-435D-39A8-8EE562FBDE43}"/>
          </ac:picMkLst>
        </pc:picChg>
      </pc:sldChg>
      <pc:sldChg chg="modSp add mod ord modNotesTx">
        <pc:chgData name="Twila Cruickshank" userId="4e6a8caa-e860-4113-aa6e-ba9b52b14f7e" providerId="ADAL" clId="{71072DA8-F139-4CCE-A23F-D9ACB350D996}" dt="2025-11-19T19:05:36.959" v="12070" actId="20577"/>
        <pc:sldMkLst>
          <pc:docMk/>
          <pc:sldMk cId="2542710303" sldId="2430"/>
        </pc:sldMkLst>
        <pc:spChg chg="mod">
          <ac:chgData name="Twila Cruickshank" userId="4e6a8caa-e860-4113-aa6e-ba9b52b14f7e" providerId="ADAL" clId="{71072DA8-F139-4CCE-A23F-D9ACB350D996}" dt="2025-11-18T16:06:08.850" v="6062" actId="20577"/>
          <ac:spMkLst>
            <pc:docMk/>
            <pc:sldMk cId="2542710303" sldId="2430"/>
            <ac:spMk id="2" creationId="{765CF56C-D9B0-E386-C58A-CF960F8449B8}"/>
          </ac:spMkLst>
        </pc:spChg>
      </pc:sldChg>
      <pc:sldChg chg="modSp add mod ord modNotesTx">
        <pc:chgData name="Twila Cruickshank" userId="4e6a8caa-e860-4113-aa6e-ba9b52b14f7e" providerId="ADAL" clId="{71072DA8-F139-4CCE-A23F-D9ACB350D996}" dt="2025-11-19T19:10:14.292" v="12452" actId="20577"/>
        <pc:sldMkLst>
          <pc:docMk/>
          <pc:sldMk cId="622073303" sldId="2431"/>
        </pc:sldMkLst>
        <pc:spChg chg="mod">
          <ac:chgData name="Twila Cruickshank" userId="4e6a8caa-e860-4113-aa6e-ba9b52b14f7e" providerId="ADAL" clId="{71072DA8-F139-4CCE-A23F-D9ACB350D996}" dt="2025-11-18T16:07:10.079" v="6138" actId="20577"/>
          <ac:spMkLst>
            <pc:docMk/>
            <pc:sldMk cId="622073303" sldId="2431"/>
            <ac:spMk id="2" creationId="{D5D4D9E6-1982-FD45-3559-B9EAC1A351E8}"/>
          </ac:spMkLst>
        </pc:spChg>
      </pc:sldChg>
      <pc:sldChg chg="modSp add mod ord modNotesTx">
        <pc:chgData name="Twila Cruickshank" userId="4e6a8caa-e860-4113-aa6e-ba9b52b14f7e" providerId="ADAL" clId="{71072DA8-F139-4CCE-A23F-D9ACB350D996}" dt="2025-11-19T19:13:14.891" v="12492" actId="20577"/>
        <pc:sldMkLst>
          <pc:docMk/>
          <pc:sldMk cId="712700990" sldId="2432"/>
        </pc:sldMkLst>
        <pc:spChg chg="mod">
          <ac:chgData name="Twila Cruickshank" userId="4e6a8caa-e860-4113-aa6e-ba9b52b14f7e" providerId="ADAL" clId="{71072DA8-F139-4CCE-A23F-D9ACB350D996}" dt="2025-11-18T16:07:40.946" v="6153" actId="6549"/>
          <ac:spMkLst>
            <pc:docMk/>
            <pc:sldMk cId="712700990" sldId="2432"/>
            <ac:spMk id="2" creationId="{18897BB4-E5EA-D2DB-E1C0-4BE3EDEFFDD3}"/>
          </ac:spMkLst>
        </pc:spChg>
      </pc:sldChg>
      <pc:sldChg chg="modSp add mod ord modNotesTx">
        <pc:chgData name="Twila Cruickshank" userId="4e6a8caa-e860-4113-aa6e-ba9b52b14f7e" providerId="ADAL" clId="{71072DA8-F139-4CCE-A23F-D9ACB350D996}" dt="2025-11-19T18:36:20.788" v="10941" actId="20577"/>
        <pc:sldMkLst>
          <pc:docMk/>
          <pc:sldMk cId="1533710179" sldId="2433"/>
        </pc:sldMkLst>
        <pc:spChg chg="mod">
          <ac:chgData name="Twila Cruickshank" userId="4e6a8caa-e860-4113-aa6e-ba9b52b14f7e" providerId="ADAL" clId="{71072DA8-F139-4CCE-A23F-D9ACB350D996}" dt="2025-11-19T18:35:36.838" v="10893" actId="6549"/>
          <ac:spMkLst>
            <pc:docMk/>
            <pc:sldMk cId="1533710179" sldId="2433"/>
            <ac:spMk id="2" creationId="{6837FC8D-F4E4-3F7C-7BA0-9D175726C694}"/>
          </ac:spMkLst>
        </pc:spChg>
      </pc:sldChg>
      <pc:sldChg chg="new del">
        <pc:chgData name="Twila Cruickshank" userId="4e6a8caa-e860-4113-aa6e-ba9b52b14f7e" providerId="ADAL" clId="{71072DA8-F139-4CCE-A23F-D9ACB350D996}" dt="2025-11-18T23:12:03.320" v="7979" actId="47"/>
        <pc:sldMkLst>
          <pc:docMk/>
          <pc:sldMk cId="1005386336" sldId="2434"/>
        </pc:sldMkLst>
      </pc:sldChg>
      <pc:sldChg chg="addSp delSp modSp add mod modNotesTx">
        <pc:chgData name="Twila Cruickshank" userId="4e6a8caa-e860-4113-aa6e-ba9b52b14f7e" providerId="ADAL" clId="{71072DA8-F139-4CCE-A23F-D9ACB350D996}" dt="2025-11-19T19:12:59.106" v="12485" actId="20577"/>
        <pc:sldMkLst>
          <pc:docMk/>
          <pc:sldMk cId="1996243625" sldId="2435"/>
        </pc:sldMkLst>
        <pc:spChg chg="add del mod">
          <ac:chgData name="Twila Cruickshank" userId="4e6a8caa-e860-4113-aa6e-ba9b52b14f7e" providerId="ADAL" clId="{71072DA8-F139-4CCE-A23F-D9ACB350D996}" dt="2025-11-18T23:54:14.174" v="8559"/>
          <ac:spMkLst>
            <pc:docMk/>
            <pc:sldMk cId="1996243625" sldId="2435"/>
            <ac:spMk id="7" creationId="{52F1B4D3-E188-C7EA-EED4-570B87BA0207}"/>
          </ac:spMkLst>
        </pc:spChg>
        <pc:spChg chg="mod">
          <ac:chgData name="Twila Cruickshank" userId="4e6a8caa-e860-4113-aa6e-ba9b52b14f7e" providerId="ADAL" clId="{71072DA8-F139-4CCE-A23F-D9ACB350D996}" dt="2025-11-19T17:21:39.785" v="10418" actId="20577"/>
          <ac:spMkLst>
            <pc:docMk/>
            <pc:sldMk cId="1996243625" sldId="2435"/>
            <ac:spMk id="8" creationId="{1F2BF5B8-ED99-2320-4779-D4B381AFFBFE}"/>
          </ac:spMkLst>
        </pc:spChg>
        <pc:spChg chg="add del">
          <ac:chgData name="Twila Cruickshank" userId="4e6a8caa-e860-4113-aa6e-ba9b52b14f7e" providerId="ADAL" clId="{71072DA8-F139-4CCE-A23F-D9ACB350D996}" dt="2025-11-18T23:54:50.174" v="8563" actId="931"/>
          <ac:spMkLst>
            <pc:docMk/>
            <pc:sldMk cId="1996243625" sldId="2435"/>
            <ac:spMk id="9" creationId="{8B5B1F1D-1987-83BA-F1C4-93832D8EA3D7}"/>
          </ac:spMkLst>
        </pc:spChg>
        <pc:spChg chg="mod">
          <ac:chgData name="Twila Cruickshank" userId="4e6a8caa-e860-4113-aa6e-ba9b52b14f7e" providerId="ADAL" clId="{71072DA8-F139-4CCE-A23F-D9ACB350D996}" dt="2025-11-19T17:30:01.773" v="10602" actId="6549"/>
          <ac:spMkLst>
            <pc:docMk/>
            <pc:sldMk cId="1996243625" sldId="2435"/>
            <ac:spMk id="10" creationId="{BF9F324A-AC78-B8EB-2DA4-FBB2FB22E5D6}"/>
          </ac:spMkLst>
        </pc:spChg>
        <pc:spChg chg="del">
          <ac:chgData name="Twila Cruickshank" userId="4e6a8caa-e860-4113-aa6e-ba9b52b14f7e" providerId="ADAL" clId="{71072DA8-F139-4CCE-A23F-D9ACB350D996}" dt="2025-11-18T23:50:46.747" v="8457"/>
          <ac:spMkLst>
            <pc:docMk/>
            <pc:sldMk cId="1996243625" sldId="2435"/>
            <ac:spMk id="24" creationId="{3A981A6C-0E10-DDCC-36BC-BD1163A9838B}"/>
          </ac:spMkLst>
        </pc:spChg>
        <pc:spChg chg="mod">
          <ac:chgData name="Twila Cruickshank" userId="4e6a8caa-e860-4113-aa6e-ba9b52b14f7e" providerId="ADAL" clId="{71072DA8-F139-4CCE-A23F-D9ACB350D996}" dt="2025-11-18T23:52:31.511" v="8495" actId="6549"/>
          <ac:spMkLst>
            <pc:docMk/>
            <pc:sldMk cId="1996243625" sldId="2435"/>
            <ac:spMk id="27" creationId="{F2B35CB8-2B35-A91C-00D2-788439D447B0}"/>
          </ac:spMkLst>
        </pc:spChg>
        <pc:spChg chg="mod">
          <ac:chgData name="Twila Cruickshank" userId="4e6a8caa-e860-4113-aa6e-ba9b52b14f7e" providerId="ADAL" clId="{71072DA8-F139-4CCE-A23F-D9ACB350D996}" dt="2025-11-18T23:43:57.590" v="8441" actId="20577"/>
          <ac:spMkLst>
            <pc:docMk/>
            <pc:sldMk cId="1996243625" sldId="2435"/>
            <ac:spMk id="30" creationId="{21803172-F1F1-6F40-3961-612EA52038E5}"/>
          </ac:spMkLst>
        </pc:spChg>
        <pc:spChg chg="add del mod">
          <ac:chgData name="Twila Cruickshank" userId="4e6a8caa-e860-4113-aa6e-ba9b52b14f7e" providerId="ADAL" clId="{71072DA8-F139-4CCE-A23F-D9ACB350D996}" dt="2025-11-19T00:02:39.130" v="8624" actId="931"/>
          <ac:spMkLst>
            <pc:docMk/>
            <pc:sldMk cId="1996243625" sldId="2435"/>
            <ac:spMk id="31" creationId="{E21E746A-EE9A-E9EA-53CD-21C10765AED2}"/>
          </ac:spMkLst>
        </pc:spChg>
        <pc:spChg chg="add mod">
          <ac:chgData name="Twila Cruickshank" userId="4e6a8caa-e860-4113-aa6e-ba9b52b14f7e" providerId="ADAL" clId="{71072DA8-F139-4CCE-A23F-D9ACB350D996}" dt="2025-11-19T00:04:17.993" v="8637" actId="478"/>
          <ac:spMkLst>
            <pc:docMk/>
            <pc:sldMk cId="1996243625" sldId="2435"/>
            <ac:spMk id="35" creationId="{F5A720CC-2840-4835-B8CC-191F7617B177}"/>
          </ac:spMkLst>
        </pc:spChg>
        <pc:graphicFrameChg chg="add del mod">
          <ac:chgData name="Twila Cruickshank" userId="4e6a8caa-e860-4113-aa6e-ba9b52b14f7e" providerId="ADAL" clId="{71072DA8-F139-4CCE-A23F-D9ACB350D996}" dt="2025-11-19T17:23:41.799" v="10419" actId="478"/>
          <ac:graphicFrameMkLst>
            <pc:docMk/>
            <pc:sldMk cId="1996243625" sldId="2435"/>
            <ac:graphicFrameMk id="2" creationId="{51338359-1091-2523-0B67-F16620BA9DB3}"/>
          </ac:graphicFrameMkLst>
        </pc:graphicFrameChg>
        <pc:graphicFrameChg chg="add del mod modGraphic">
          <ac:chgData name="Twila Cruickshank" userId="4e6a8caa-e860-4113-aa6e-ba9b52b14f7e" providerId="ADAL" clId="{71072DA8-F139-4CCE-A23F-D9ACB350D996}" dt="2025-11-18T23:54:12.484" v="8558" actId="478"/>
          <ac:graphicFrameMkLst>
            <pc:docMk/>
            <pc:sldMk cId="1996243625" sldId="2435"/>
            <ac:graphicFrameMk id="3" creationId="{62848319-0AC8-1C7F-AF43-E97E4B09406E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9T17:26:20.383" v="10442" actId="207"/>
          <ac:graphicFrameMkLst>
            <pc:docMk/>
            <pc:sldMk cId="1996243625" sldId="2435"/>
            <ac:graphicFrameMk id="3" creationId="{C4B8F1A2-09AB-A214-EC86-5DF1BC40446D}"/>
          </ac:graphicFrameMkLst>
        </pc:graphicFrameChg>
        <pc:graphicFrameChg chg="add mod">
          <ac:chgData name="Twila Cruickshank" userId="4e6a8caa-e860-4113-aa6e-ba9b52b14f7e" providerId="ADAL" clId="{71072DA8-F139-4CCE-A23F-D9ACB350D996}" dt="2025-11-18T23:53:34.295" v="8556"/>
          <ac:graphicFrameMkLst>
            <pc:docMk/>
            <pc:sldMk cId="1996243625" sldId="2435"/>
            <ac:graphicFrameMk id="4" creationId="{B76E3D8D-992B-F4FF-5905-D8A313525671}"/>
          </ac:graphicFrameMkLst>
        </pc:graphicFrameChg>
        <pc:graphicFrameChg chg="mod">
          <ac:chgData name="Twila Cruickshank" userId="4e6a8caa-e860-4113-aa6e-ba9b52b14f7e" providerId="ADAL" clId="{71072DA8-F139-4CCE-A23F-D9ACB350D996}" dt="2025-11-19T00:05:06.844" v="8647" actId="1076"/>
          <ac:graphicFrameMkLst>
            <pc:docMk/>
            <pc:sldMk cId="1996243625" sldId="2435"/>
            <ac:graphicFrameMk id="6" creationId="{82EA0CA2-582E-33A3-2044-CD1728505AAB}"/>
          </ac:graphicFrameMkLst>
        </pc:graphicFrameChg>
        <pc:graphicFrameChg chg="add mod modGraphic">
          <ac:chgData name="Twila Cruickshank" userId="4e6a8caa-e860-4113-aa6e-ba9b52b14f7e" providerId="ADAL" clId="{71072DA8-F139-4CCE-A23F-D9ACB350D996}" dt="2025-11-19T17:20:33.355" v="10349" actId="14100"/>
          <ac:graphicFrameMkLst>
            <pc:docMk/>
            <pc:sldMk cId="1996243625" sldId="2435"/>
            <ac:graphicFrameMk id="11" creationId="{8E9206CC-3F9E-7DBD-7947-2071B75433BB}"/>
          </ac:graphicFrameMkLst>
        </pc:graphicFrameChg>
        <pc:graphicFrameChg chg="mod">
          <ac:chgData name="Twila Cruickshank" userId="4e6a8caa-e860-4113-aa6e-ba9b52b14f7e" providerId="ADAL" clId="{71072DA8-F139-4CCE-A23F-D9ACB350D996}" dt="2025-11-19T19:11:48.756" v="12457" actId="14100"/>
          <ac:graphicFrameMkLst>
            <pc:docMk/>
            <pc:sldMk cId="1996243625" sldId="2435"/>
            <ac:graphicFrameMk id="18" creationId="{0951B1B7-3DF9-E4C5-45E0-595986C2C837}"/>
          </ac:graphicFrameMkLst>
        </pc:graphicFrameChg>
        <pc:graphicFrameChg chg="del">
          <ac:chgData name="Twila Cruickshank" userId="4e6a8caa-e860-4113-aa6e-ba9b52b14f7e" providerId="ADAL" clId="{71072DA8-F139-4CCE-A23F-D9ACB350D996}" dt="2025-11-18T20:33:17.910" v="6967" actId="478"/>
          <ac:graphicFrameMkLst>
            <pc:docMk/>
            <pc:sldMk cId="1996243625" sldId="2435"/>
            <ac:graphicFrameMk id="31" creationId="{54703AE9-4951-E72A-31F1-1FAD917EDB3E}"/>
          </ac:graphicFrameMkLst>
        </pc:graphicFrameChg>
        <pc:picChg chg="add del mod">
          <ac:chgData name="Twila Cruickshank" userId="4e6a8caa-e860-4113-aa6e-ba9b52b14f7e" providerId="ADAL" clId="{71072DA8-F139-4CCE-A23F-D9ACB350D996}" dt="2025-11-19T00:02:08.550" v="8621" actId="478"/>
          <ac:picMkLst>
            <pc:docMk/>
            <pc:sldMk cId="1996243625" sldId="2435"/>
            <ac:picMk id="13" creationId="{8DDDE6EF-BB67-306A-75A6-3CAE8509FC30}"/>
          </ac:picMkLst>
        </pc:picChg>
        <pc:picChg chg="add del mod">
          <ac:chgData name="Twila Cruickshank" userId="4e6a8caa-e860-4113-aa6e-ba9b52b14f7e" providerId="ADAL" clId="{71072DA8-F139-4CCE-A23F-D9ACB350D996}" dt="2025-11-18T23:59:14.998" v="8604" actId="478"/>
          <ac:picMkLst>
            <pc:docMk/>
            <pc:sldMk cId="1996243625" sldId="2435"/>
            <ac:picMk id="15" creationId="{9206997B-D81A-2F7A-7FAB-46893AF29A16}"/>
          </ac:picMkLst>
        </pc:picChg>
        <pc:picChg chg="add del mod">
          <ac:chgData name="Twila Cruickshank" userId="4e6a8caa-e860-4113-aa6e-ba9b52b14f7e" providerId="ADAL" clId="{71072DA8-F139-4CCE-A23F-D9ACB350D996}" dt="2025-11-18T23:59:13.748" v="8603" actId="478"/>
          <ac:picMkLst>
            <pc:docMk/>
            <pc:sldMk cId="1996243625" sldId="2435"/>
            <ac:picMk id="17" creationId="{680BD505-EBA2-B7CF-4099-F6EA8F3F4E82}"/>
          </ac:picMkLst>
        </pc:picChg>
        <pc:picChg chg="add del mod">
          <ac:chgData name="Twila Cruickshank" userId="4e6a8caa-e860-4113-aa6e-ba9b52b14f7e" providerId="ADAL" clId="{71072DA8-F139-4CCE-A23F-D9ACB350D996}" dt="2025-11-18T23:57:18.253" v="8591" actId="478"/>
          <ac:picMkLst>
            <pc:docMk/>
            <pc:sldMk cId="1996243625" sldId="2435"/>
            <ac:picMk id="20" creationId="{80953AB0-E247-C4CE-DE2B-6A546D2FD789}"/>
          </ac:picMkLst>
        </pc:picChg>
        <pc:picChg chg="add mod">
          <ac:chgData name="Twila Cruickshank" userId="4e6a8caa-e860-4113-aa6e-ba9b52b14f7e" providerId="ADAL" clId="{71072DA8-F139-4CCE-A23F-D9ACB350D996}" dt="2025-11-19T19:11:45.876" v="12456" actId="14100"/>
          <ac:picMkLst>
            <pc:docMk/>
            <pc:sldMk cId="1996243625" sldId="2435"/>
            <ac:picMk id="22" creationId="{E35109CF-2478-CD79-C9E0-8417270DA9C7}"/>
          </ac:picMkLst>
        </pc:picChg>
        <pc:picChg chg="add del mod">
          <ac:chgData name="Twila Cruickshank" userId="4e6a8caa-e860-4113-aa6e-ba9b52b14f7e" providerId="ADAL" clId="{71072DA8-F139-4CCE-A23F-D9ACB350D996}" dt="2025-11-19T00:04:17.993" v="8637" actId="478"/>
          <ac:picMkLst>
            <pc:docMk/>
            <pc:sldMk cId="1996243625" sldId="2435"/>
            <ac:picMk id="33" creationId="{B2031472-B50C-0AF6-A9B7-DE0CCEEECC8B}"/>
          </ac:picMkLst>
        </pc:picChg>
      </pc:sldChg>
      <pc:sldChg chg="addSp delSp modSp add del mod">
        <pc:chgData name="Twila Cruickshank" userId="4e6a8caa-e860-4113-aa6e-ba9b52b14f7e" providerId="ADAL" clId="{71072DA8-F139-4CCE-A23F-D9ACB350D996}" dt="2025-11-18T20:55:19.661" v="7034" actId="47"/>
        <pc:sldMkLst>
          <pc:docMk/>
          <pc:sldMk cId="2404109517" sldId="2436"/>
        </pc:sldMkLst>
        <pc:spChg chg="mod">
          <ac:chgData name="Twila Cruickshank" userId="4e6a8caa-e860-4113-aa6e-ba9b52b14f7e" providerId="ADAL" clId="{71072DA8-F139-4CCE-A23F-D9ACB350D996}" dt="2025-11-18T20:43:24.730" v="7009" actId="114"/>
          <ac:spMkLst>
            <pc:docMk/>
            <pc:sldMk cId="2404109517" sldId="2436"/>
            <ac:spMk id="2" creationId="{76F604E1-F4FE-49A1-A6B1-26CA5B8B6DF4}"/>
          </ac:spMkLst>
        </pc:spChg>
        <pc:picChg chg="add del mod">
          <ac:chgData name="Twila Cruickshank" userId="4e6a8caa-e860-4113-aa6e-ba9b52b14f7e" providerId="ADAL" clId="{71072DA8-F139-4CCE-A23F-D9ACB350D996}" dt="2025-11-18T20:54:18.551" v="7030" actId="478"/>
          <ac:picMkLst>
            <pc:docMk/>
            <pc:sldMk cId="2404109517" sldId="2436"/>
            <ac:picMk id="4" creationId="{7DE4CDAF-0D4B-EAD6-A01A-2F0D8DFAC586}"/>
          </ac:picMkLst>
        </pc:picChg>
      </pc:sldChg>
      <pc:sldChg chg="addSp delSp modSp add mod ord">
        <pc:chgData name="Twila Cruickshank" userId="4e6a8caa-e860-4113-aa6e-ba9b52b14f7e" providerId="ADAL" clId="{71072DA8-F139-4CCE-A23F-D9ACB350D996}" dt="2025-11-18T21:09:49.335" v="7092" actId="114"/>
        <pc:sldMkLst>
          <pc:docMk/>
          <pc:sldMk cId="638380448" sldId="2437"/>
        </pc:sldMkLst>
        <pc:spChg chg="del">
          <ac:chgData name="Twila Cruickshank" userId="4e6a8caa-e860-4113-aa6e-ba9b52b14f7e" providerId="ADAL" clId="{71072DA8-F139-4CCE-A23F-D9ACB350D996}" dt="2025-11-18T20:47:10.245" v="7018" actId="478"/>
          <ac:spMkLst>
            <pc:docMk/>
            <pc:sldMk cId="638380448" sldId="2437"/>
            <ac:spMk id="6" creationId="{5442B12B-E4EB-0692-781F-7901E7D2DAD8}"/>
          </ac:spMkLst>
        </pc:spChg>
        <pc:spChg chg="add del mod">
          <ac:chgData name="Twila Cruickshank" userId="4e6a8caa-e860-4113-aa6e-ba9b52b14f7e" providerId="ADAL" clId="{71072DA8-F139-4CCE-A23F-D9ACB350D996}" dt="2025-11-18T20:54:04.881" v="7025" actId="931"/>
          <ac:spMkLst>
            <pc:docMk/>
            <pc:sldMk cId="638380448" sldId="2437"/>
            <ac:spMk id="7" creationId="{48A98286-A6FC-C5F6-A447-4B71239226C9}"/>
          </ac:spMkLst>
        </pc:spChg>
        <pc:spChg chg="add mod">
          <ac:chgData name="Twila Cruickshank" userId="4e6a8caa-e860-4113-aa6e-ba9b52b14f7e" providerId="ADAL" clId="{71072DA8-F139-4CCE-A23F-D9ACB350D996}" dt="2025-11-18T21:09:49.335" v="7092" actId="114"/>
          <ac:spMkLst>
            <pc:docMk/>
            <pc:sldMk cId="638380448" sldId="2437"/>
            <ac:spMk id="11" creationId="{9DBD3352-5E67-C099-CC7F-3204BAC10376}"/>
          </ac:spMkLst>
        </pc:spChg>
        <pc:spChg chg="mod">
          <ac:chgData name="Twila Cruickshank" userId="4e6a8caa-e860-4113-aa6e-ba9b52b14f7e" providerId="ADAL" clId="{71072DA8-F139-4CCE-A23F-D9ACB350D996}" dt="2025-11-18T20:47:08.888" v="7017" actId="6549"/>
          <ac:spMkLst>
            <pc:docMk/>
            <pc:sldMk cId="638380448" sldId="2437"/>
            <ac:spMk id="12" creationId="{BD920064-DB14-69FB-5816-5DDFAC5B2FF5}"/>
          </ac:spMkLst>
        </pc:spChg>
        <pc:spChg chg="del mod">
          <ac:chgData name="Twila Cruickshank" userId="4e6a8caa-e860-4113-aa6e-ba9b52b14f7e" providerId="ADAL" clId="{71072DA8-F139-4CCE-A23F-D9ACB350D996}" dt="2025-11-18T20:47:15.499" v="7022" actId="478"/>
          <ac:spMkLst>
            <pc:docMk/>
            <pc:sldMk cId="638380448" sldId="2437"/>
            <ac:spMk id="14" creationId="{DBEE58D6-6D7F-2AA1-D7C4-9724E09865D0}"/>
          </ac:spMkLst>
        </pc:spChg>
        <pc:grpChg chg="del">
          <ac:chgData name="Twila Cruickshank" userId="4e6a8caa-e860-4113-aa6e-ba9b52b14f7e" providerId="ADAL" clId="{71072DA8-F139-4CCE-A23F-D9ACB350D996}" dt="2025-11-18T20:47:12.238" v="7020" actId="478"/>
          <ac:grpSpMkLst>
            <pc:docMk/>
            <pc:sldMk cId="638380448" sldId="2437"/>
            <ac:grpSpMk id="2" creationId="{5AAFFF9B-DD00-4250-F7C4-176EAF82A7F4}"/>
          </ac:grpSpMkLst>
        </pc:grpChg>
        <pc:grpChg chg="del">
          <ac:chgData name="Twila Cruickshank" userId="4e6a8caa-e860-4113-aa6e-ba9b52b14f7e" providerId="ADAL" clId="{71072DA8-F139-4CCE-A23F-D9ACB350D996}" dt="2025-11-18T20:47:19.863" v="7024" actId="478"/>
          <ac:grpSpMkLst>
            <pc:docMk/>
            <pc:sldMk cId="638380448" sldId="2437"/>
            <ac:grpSpMk id="3" creationId="{C4B62301-F6AF-AA41-EDC5-B2F9DCA869E8}"/>
          </ac:grpSpMkLst>
        </pc:grpChg>
        <pc:grpChg chg="del">
          <ac:chgData name="Twila Cruickshank" userId="4e6a8caa-e860-4113-aa6e-ba9b52b14f7e" providerId="ADAL" clId="{71072DA8-F139-4CCE-A23F-D9ACB350D996}" dt="2025-11-18T20:47:17.637" v="7023" actId="478"/>
          <ac:grpSpMkLst>
            <pc:docMk/>
            <pc:sldMk cId="638380448" sldId="2437"/>
            <ac:grpSpMk id="4" creationId="{5EA0D50F-494C-D53E-67DD-BDB3546F175A}"/>
          </ac:grpSpMkLst>
        </pc:grpChg>
        <pc:picChg chg="add mod">
          <ac:chgData name="Twila Cruickshank" userId="4e6a8caa-e860-4113-aa6e-ba9b52b14f7e" providerId="ADAL" clId="{71072DA8-F139-4CCE-A23F-D9ACB350D996}" dt="2025-11-18T20:54:13.911" v="7029" actId="1076"/>
          <ac:picMkLst>
            <pc:docMk/>
            <pc:sldMk cId="638380448" sldId="2437"/>
            <ac:picMk id="9" creationId="{3EB543B4-E6C8-D1D9-5C84-FD1E0991CBD6}"/>
          </ac:picMkLst>
        </pc:picChg>
        <pc:picChg chg="del">
          <ac:chgData name="Twila Cruickshank" userId="4e6a8caa-e860-4113-aa6e-ba9b52b14f7e" providerId="ADAL" clId="{71072DA8-F139-4CCE-A23F-D9ACB350D996}" dt="2025-11-18T20:47:11.018" v="7019" actId="478"/>
          <ac:picMkLst>
            <pc:docMk/>
            <pc:sldMk cId="638380448" sldId="2437"/>
            <ac:picMk id="16" creationId="{9A9944F3-D149-CFCF-ADF8-7C4A83937078}"/>
          </ac:picMkLst>
        </pc:picChg>
      </pc:sldChg>
      <pc:sldChg chg="addSp delSp modSp add del mod">
        <pc:chgData name="Twila Cruickshank" userId="4e6a8caa-e860-4113-aa6e-ba9b52b14f7e" providerId="ADAL" clId="{71072DA8-F139-4CCE-A23F-D9ACB350D996}" dt="2025-11-18T22:37:44.167" v="7459" actId="47"/>
        <pc:sldMkLst>
          <pc:docMk/>
          <pc:sldMk cId="1158786797" sldId="2438"/>
        </pc:sldMkLst>
        <pc:spChg chg="del mod">
          <ac:chgData name="Twila Cruickshank" userId="4e6a8caa-e860-4113-aa6e-ba9b52b14f7e" providerId="ADAL" clId="{71072DA8-F139-4CCE-A23F-D9ACB350D996}" dt="2025-11-18T21:54:59.884" v="7450" actId="34307"/>
          <ac:spMkLst>
            <pc:docMk/>
            <pc:sldMk cId="1158786797" sldId="2438"/>
            <ac:spMk id="2" creationId="{A820B5E6-EEE2-9848-39EA-667A4AFF2C31}"/>
          </ac:spMkLst>
        </pc:spChg>
        <pc:spChg chg="mod">
          <ac:chgData name="Twila Cruickshank" userId="4e6a8caa-e860-4113-aa6e-ba9b52b14f7e" providerId="ADAL" clId="{71072DA8-F139-4CCE-A23F-D9ACB350D996}" dt="2025-11-18T21:53:56.917" v="7446" actId="6549"/>
          <ac:spMkLst>
            <pc:docMk/>
            <pc:sldMk cId="1158786797" sldId="2438"/>
            <ac:spMk id="3" creationId="{3DD2E265-024B-4DBF-6202-70A062D8BE10}"/>
          </ac:spMkLst>
        </pc:spChg>
        <pc:spChg chg="add mod">
          <ac:chgData name="Twila Cruickshank" userId="4e6a8caa-e860-4113-aa6e-ba9b52b14f7e" providerId="ADAL" clId="{71072DA8-F139-4CCE-A23F-D9ACB350D996}" dt="2025-11-18T21:55:05.225" v="7451" actId="478"/>
          <ac:spMkLst>
            <pc:docMk/>
            <pc:sldMk cId="1158786797" sldId="2438"/>
            <ac:spMk id="9" creationId="{3B46F8AC-04D2-4489-9B69-E8BF11B8C9C3}"/>
          </ac:spMkLst>
        </pc:spChg>
        <pc:graphicFrameChg chg="add">
          <ac:chgData name="Twila Cruickshank" userId="4e6a8caa-e860-4113-aa6e-ba9b52b14f7e" providerId="ADAL" clId="{71072DA8-F139-4CCE-A23F-D9ACB350D996}" dt="2025-11-18T21:57:32.584" v="7452"/>
          <ac:graphicFrameMkLst>
            <pc:docMk/>
            <pc:sldMk cId="1158786797" sldId="2438"/>
            <ac:graphicFrameMk id="10" creationId="{727564F8-6652-1770-5940-B1538CFE4CD7}"/>
          </ac:graphicFrameMkLst>
        </pc:graphicFrameChg>
        <pc:graphicFrameChg chg="add">
          <ac:chgData name="Twila Cruickshank" userId="4e6a8caa-e860-4113-aa6e-ba9b52b14f7e" providerId="ADAL" clId="{71072DA8-F139-4CCE-A23F-D9ACB350D996}" dt="2025-11-18T21:59:40.478" v="7453"/>
          <ac:graphicFrameMkLst>
            <pc:docMk/>
            <pc:sldMk cId="1158786797" sldId="2438"/>
            <ac:graphicFrameMk id="11" creationId="{F9DCC823-7DF8-40F7-E5D9-3F8940E24B80}"/>
          </ac:graphicFrameMkLst>
        </pc:graphicFrameChg>
        <pc:picChg chg="add del mod ord">
          <ac:chgData name="Twila Cruickshank" userId="4e6a8caa-e860-4113-aa6e-ba9b52b14f7e" providerId="ADAL" clId="{71072DA8-F139-4CCE-A23F-D9ACB350D996}" dt="2025-11-18T21:55:05.225" v="7451" actId="478"/>
          <ac:picMkLst>
            <pc:docMk/>
            <pc:sldMk cId="1158786797" sldId="2438"/>
            <ac:picMk id="7" creationId="{55708BA9-A18D-3FAF-DEBC-E231D5EC13B7}"/>
          </ac:picMkLst>
        </pc:picChg>
      </pc:sldChg>
      <pc:sldChg chg="addSp new modNotesTx">
        <pc:chgData name="Twila Cruickshank" userId="4e6a8caa-e860-4113-aa6e-ba9b52b14f7e" providerId="ADAL" clId="{71072DA8-F139-4CCE-A23F-D9ACB350D996}" dt="2025-11-18T22:42:31.220" v="7562" actId="6549"/>
        <pc:sldMkLst>
          <pc:docMk/>
          <pc:sldMk cId="857115363" sldId="2439"/>
        </pc:sldMkLst>
        <pc:graphicFrameChg chg="add">
          <ac:chgData name="Twila Cruickshank" userId="4e6a8caa-e860-4113-aa6e-ba9b52b14f7e" providerId="ADAL" clId="{71072DA8-F139-4CCE-A23F-D9ACB350D996}" dt="2025-11-18T22:04:33.610" v="7455"/>
          <ac:graphicFrameMkLst>
            <pc:docMk/>
            <pc:sldMk cId="857115363" sldId="2439"/>
            <ac:graphicFrameMk id="7" creationId="{78A2CE82-7803-C017-589D-E416080A9FEE}"/>
          </ac:graphicFrameMkLst>
        </pc:graphicFrameChg>
        <pc:graphicFrameChg chg="add">
          <ac:chgData name="Twila Cruickshank" userId="4e6a8caa-e860-4113-aa6e-ba9b52b14f7e" providerId="ADAL" clId="{71072DA8-F139-4CCE-A23F-D9ACB350D996}" dt="2025-11-18T22:05:01.137" v="7456"/>
          <ac:graphicFrameMkLst>
            <pc:docMk/>
            <pc:sldMk cId="857115363" sldId="2439"/>
            <ac:graphicFrameMk id="8" creationId="{17401B9C-EC99-A18D-65B9-4C3F684643E0}"/>
          </ac:graphicFrameMkLst>
        </pc:graphicFrameChg>
        <pc:graphicFrameChg chg="add">
          <ac:chgData name="Twila Cruickshank" userId="4e6a8caa-e860-4113-aa6e-ba9b52b14f7e" providerId="ADAL" clId="{71072DA8-F139-4CCE-A23F-D9ACB350D996}" dt="2025-11-18T22:05:49.987" v="7457"/>
          <ac:graphicFrameMkLst>
            <pc:docMk/>
            <pc:sldMk cId="857115363" sldId="2439"/>
            <ac:graphicFrameMk id="9" creationId="{5A61D200-AADD-7ED1-5C25-BA4AC0E2AAD1}"/>
          </ac:graphicFrameMkLst>
        </pc:graphicFrameChg>
      </pc:sldChg>
      <pc:sldChg chg="addSp new modNotesTx">
        <pc:chgData name="Twila Cruickshank" userId="4e6a8caa-e860-4113-aa6e-ba9b52b14f7e" providerId="ADAL" clId="{71072DA8-F139-4CCE-A23F-D9ACB350D996}" dt="2025-11-18T22:42:08.552" v="7495" actId="20577"/>
        <pc:sldMkLst>
          <pc:docMk/>
          <pc:sldMk cId="1560985862" sldId="2440"/>
        </pc:sldMkLst>
        <pc:graphicFrameChg chg="add">
          <ac:chgData name="Twila Cruickshank" userId="4e6a8caa-e860-4113-aa6e-ba9b52b14f7e" providerId="ADAL" clId="{71072DA8-F139-4CCE-A23F-D9ACB350D996}" dt="2025-11-18T22:38:23.204" v="7462"/>
          <ac:graphicFrameMkLst>
            <pc:docMk/>
            <pc:sldMk cId="1560985862" sldId="2440"/>
            <ac:graphicFrameMk id="7" creationId="{3BA91B0C-5829-65D7-1127-997B1527A8D5}"/>
          </ac:graphicFrameMkLst>
        </pc:graphicFrameChg>
      </pc:sldChg>
      <pc:sldMasterChg chg="modSp mod modSldLayout">
        <pc:chgData name="Twila Cruickshank" userId="4e6a8caa-e860-4113-aa6e-ba9b52b14f7e" providerId="ADAL" clId="{71072DA8-F139-4CCE-A23F-D9ACB350D996}" dt="2025-11-18T23:00:43.532" v="7650" actId="20577"/>
        <pc:sldMasterMkLst>
          <pc:docMk/>
          <pc:sldMasterMk cId="1290275728" sldId="2147483673"/>
        </pc:sldMasterMkLst>
        <pc:spChg chg="mod">
          <ac:chgData name="Twila Cruickshank" userId="4e6a8caa-e860-4113-aa6e-ba9b52b14f7e" providerId="ADAL" clId="{71072DA8-F139-4CCE-A23F-D9ACB350D996}" dt="2025-11-18T23:00:43.532" v="7650" actId="20577"/>
          <ac:spMkLst>
            <pc:docMk/>
            <pc:sldMasterMk cId="1290275728" sldId="2147483673"/>
            <ac:spMk id="12" creationId="{00000000-0000-0000-0000-000000000000}"/>
          </ac:spMkLst>
        </pc:spChg>
        <pc:sldLayoutChg chg="addSp delSp modSp">
          <pc:chgData name="Twila Cruickshank" userId="4e6a8caa-e860-4113-aa6e-ba9b52b14f7e" providerId="ADAL" clId="{71072DA8-F139-4CCE-A23F-D9ACB350D996}" dt="2025-11-18T22:59:32.475" v="7642"/>
          <pc:sldLayoutMkLst>
            <pc:docMk/>
            <pc:sldMasterMk cId="1290275728" sldId="2147483673"/>
            <pc:sldLayoutMk cId="748392155" sldId="2147483681"/>
          </pc:sldLayoutMkLst>
          <pc:spChg chg="add mod">
            <ac:chgData name="Twila Cruickshank" userId="4e6a8caa-e860-4113-aa6e-ba9b52b14f7e" providerId="ADAL" clId="{71072DA8-F139-4CCE-A23F-D9ACB350D996}" dt="2025-11-18T22:59:32.475" v="7642"/>
            <ac:spMkLst>
              <pc:docMk/>
              <pc:sldMasterMk cId="1290275728" sldId="2147483673"/>
              <pc:sldLayoutMk cId="748392155" sldId="2147483681"/>
              <ac:spMk id="2" creationId="{6AB2DCE1-849F-540A-21EC-60B834414172}"/>
            </ac:spMkLst>
          </pc:spChg>
          <pc:spChg chg="del">
            <ac:chgData name="Twila Cruickshank" userId="4e6a8caa-e860-4113-aa6e-ba9b52b14f7e" providerId="ADAL" clId="{71072DA8-F139-4CCE-A23F-D9ACB350D996}" dt="2025-11-18T22:59:29.818" v="7641"/>
            <ac:spMkLst>
              <pc:docMk/>
              <pc:sldMasterMk cId="1290275728" sldId="2147483673"/>
              <pc:sldLayoutMk cId="748392155" sldId="2147483681"/>
              <ac:spMk id="4" creationId="{E26E6444-2DD6-425B-B12E-64280CFC7A2A}"/>
            </ac:spMkLst>
          </pc:spChg>
        </pc:sldLayoutChg>
      </pc:sldMasterChg>
      <pc:sldMasterChg chg="new mod addSldLayout">
        <pc:chgData name="Twila Cruickshank" userId="4e6a8caa-e860-4113-aa6e-ba9b52b14f7e" providerId="ADAL" clId="{71072DA8-F139-4CCE-A23F-D9ACB350D996}" dt="2025-11-18T22:59:50.934" v="7643" actId="6938"/>
        <pc:sldMasterMkLst>
          <pc:docMk/>
          <pc:sldMasterMk cId="2076173112" sldId="2147483686"/>
        </pc:sldMasterMkLst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2825393382" sldId="2147483687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1206254475" sldId="2147483688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1735581920" sldId="2147483689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237378551" sldId="2147483690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559634847" sldId="2147483691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574069622" sldId="2147483692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951575652" sldId="2147483693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2991989100" sldId="2147483694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2963521401" sldId="2147483695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3560033048" sldId="2147483696"/>
          </pc:sldLayoutMkLst>
        </pc:sldLayoutChg>
        <pc:sldLayoutChg chg="new replId">
          <pc:chgData name="Twila Cruickshank" userId="4e6a8caa-e860-4113-aa6e-ba9b52b14f7e" providerId="ADAL" clId="{71072DA8-F139-4CCE-A23F-D9ACB350D996}" dt="2025-11-18T22:59:50.934" v="7643" actId="6938"/>
          <pc:sldLayoutMkLst>
            <pc:docMk/>
            <pc:sldMasterMk cId="2076173112" sldId="2147483686"/>
            <pc:sldLayoutMk cId="3048435598" sldId="2147483697"/>
          </pc:sldLayoutMkLst>
        </pc:sldLayoutChg>
      </pc:sldMasterChg>
    </pc:docChg>
  </pc:docChgLst>
  <pc:docChgLst>
    <pc:chgData name="Guest User" userId="S::urn:spo:tenantanon#058d038b-ab60-424c-8f4e-f292ae956ef8::" providerId="AD" clId="Web-{59B1540F-9936-B636-CBBC-DE51BA7AD9EB}"/>
    <pc:docChg chg="modSld">
      <pc:chgData name="Guest User" userId="S::urn:spo:tenantanon#058d038b-ab60-424c-8f4e-f292ae956ef8::" providerId="AD" clId="Web-{59B1540F-9936-B636-CBBC-DE51BA7AD9EB}" dt="2025-11-19T15:05:42.025" v="520"/>
      <pc:docMkLst>
        <pc:docMk/>
      </pc:docMkLst>
      <pc:sldChg chg="modSp modNotes">
        <pc:chgData name="Guest User" userId="S::urn:spo:tenantanon#058d038b-ab60-424c-8f4e-f292ae956ef8::" providerId="AD" clId="Web-{59B1540F-9936-B636-CBBC-DE51BA7AD9EB}" dt="2025-11-19T15:05:42.025" v="520"/>
        <pc:sldMkLst>
          <pc:docMk/>
          <pc:sldMk cId="2414275170" sldId="2392"/>
        </pc:sldMkLst>
        <pc:spChg chg="mod">
          <ac:chgData name="Guest User" userId="S::urn:spo:tenantanon#058d038b-ab60-424c-8f4e-f292ae956ef8::" providerId="AD" clId="Web-{59B1540F-9936-B636-CBBC-DE51BA7AD9EB}" dt="2025-11-19T14:08:04.960" v="17" actId="20577"/>
          <ac:spMkLst>
            <pc:docMk/>
            <pc:sldMk cId="2414275170" sldId="2392"/>
            <ac:spMk id="10" creationId="{29DE9EEE-BA73-504D-97F2-3AF01D6DE755}"/>
          </ac:spMkLst>
        </pc:spChg>
      </pc:sldChg>
      <pc:sldChg chg="modSp">
        <pc:chgData name="Guest User" userId="S::urn:spo:tenantanon#058d038b-ab60-424c-8f4e-f292ae956ef8::" providerId="AD" clId="Web-{59B1540F-9936-B636-CBBC-DE51BA7AD9EB}" dt="2025-11-19T14:26:55.718" v="216"/>
        <pc:sldMkLst>
          <pc:docMk/>
          <pc:sldMk cId="1782692610" sldId="2419"/>
        </pc:sldMkLst>
        <pc:spChg chg="ord">
          <ac:chgData name="Guest User" userId="S::urn:spo:tenantanon#058d038b-ab60-424c-8f4e-f292ae956ef8::" providerId="AD" clId="Web-{59B1540F-9936-B636-CBBC-DE51BA7AD9EB}" dt="2025-11-19T14:26:55.718" v="216"/>
          <ac:spMkLst>
            <pc:docMk/>
            <pc:sldMk cId="1782692610" sldId="2419"/>
            <ac:spMk id="144" creationId="{3E91A3F5-616B-A9D7-939E-B8B5C003E599}"/>
          </ac:spMkLst>
        </pc:spChg>
      </pc:sldChg>
      <pc:sldChg chg="modSp">
        <pc:chgData name="Guest User" userId="S::urn:spo:tenantanon#058d038b-ab60-424c-8f4e-f292ae956ef8::" providerId="AD" clId="Web-{59B1540F-9936-B636-CBBC-DE51BA7AD9EB}" dt="2025-11-19T14:29:07.784" v="222"/>
        <pc:sldMkLst>
          <pc:docMk/>
          <pc:sldMk cId="2072062353" sldId="2426"/>
        </pc:sldMkLst>
        <pc:spChg chg="mod">
          <ac:chgData name="Guest User" userId="S::urn:spo:tenantanon#058d038b-ab60-424c-8f4e-f292ae956ef8::" providerId="AD" clId="Web-{59B1540F-9936-B636-CBBC-DE51BA7AD9EB}" dt="2025-11-19T14:29:07.784" v="222"/>
          <ac:spMkLst>
            <pc:docMk/>
            <pc:sldMk cId="2072062353" sldId="2426"/>
            <ac:spMk id="2" creationId="{2E09A96F-D7D5-DD2F-E8B1-C736E955EB55}"/>
          </ac:spMkLst>
        </pc:spChg>
        <pc:spChg chg="mod">
          <ac:chgData name="Guest User" userId="S::urn:spo:tenantanon#058d038b-ab60-424c-8f4e-f292ae956ef8::" providerId="AD" clId="Web-{59B1540F-9936-B636-CBBC-DE51BA7AD9EB}" dt="2025-11-19T14:28:21.063" v="220" actId="20577"/>
          <ac:spMkLst>
            <pc:docMk/>
            <pc:sldMk cId="2072062353" sldId="2426"/>
            <ac:spMk id="3" creationId="{7536C591-44BA-1FF4-A8B2-01E716416D14}"/>
          </ac:spMkLst>
        </pc:spChg>
        <pc:spChg chg="mod">
          <ac:chgData name="Guest User" userId="S::urn:spo:tenantanon#058d038b-ab60-424c-8f4e-f292ae956ef8::" providerId="AD" clId="Web-{59B1540F-9936-B636-CBBC-DE51BA7AD9EB}" dt="2025-11-19T14:28:57.861" v="221"/>
          <ac:spMkLst>
            <pc:docMk/>
            <pc:sldMk cId="2072062353" sldId="2426"/>
            <ac:spMk id="17" creationId="{61F0001B-439D-5734-78D2-9F0FCE448594}"/>
          </ac:spMkLst>
        </pc:spChg>
      </pc:sldChg>
      <pc:sldChg chg="modSp">
        <pc:chgData name="Guest User" userId="S::urn:spo:tenantanon#058d038b-ab60-424c-8f4e-f292ae956ef8::" providerId="AD" clId="Web-{59B1540F-9936-B636-CBBC-DE51BA7AD9EB}" dt="2025-11-19T14:07:27.850" v="14"/>
        <pc:sldMkLst>
          <pc:docMk/>
          <pc:sldMk cId="638380448" sldId="2437"/>
        </pc:sldMkLst>
        <pc:spChg chg="mod">
          <ac:chgData name="Guest User" userId="S::urn:spo:tenantanon#058d038b-ab60-424c-8f4e-f292ae956ef8::" providerId="AD" clId="Web-{59B1540F-9936-B636-CBBC-DE51BA7AD9EB}" dt="2025-11-19T13:45:07.698" v="3" actId="20577"/>
          <ac:spMkLst>
            <pc:docMk/>
            <pc:sldMk cId="638380448" sldId="2437"/>
            <ac:spMk id="11" creationId="{9DBD3352-5E67-C099-CC7F-3204BAC10376}"/>
          </ac:spMkLst>
        </pc:spChg>
        <pc:spChg chg="mod">
          <ac:chgData name="Guest User" userId="S::urn:spo:tenantanon#058d038b-ab60-424c-8f4e-f292ae956ef8::" providerId="AD" clId="Web-{59B1540F-9936-B636-CBBC-DE51BA7AD9EB}" dt="2025-11-19T14:07:27.850" v="14"/>
          <ac:spMkLst>
            <pc:docMk/>
            <pc:sldMk cId="638380448" sldId="2437"/>
            <ac:spMk id="12" creationId="{BD920064-DB14-69FB-5816-5DDFAC5B2FF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ycling\Manitoba%20Cycling%20Dropbox\Twila%20Cruickshank\MCA%20-%20Board\MEETINGS\AGM\2024%20AGM\Archived\AGM%20Data%20for%20Graphs%20(2024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ycling\Manitoba%20Cycling%20Dropbox\Twila%20Cruickshank\MCA%20-%20Board\MEETINGS\AGM\2025%20AGM\Slide%20deck\Member%20fees%20+%20License%20types.xlsx" TargetMode="Externa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ycling\Manitoba%20Cycling%20Dropbox\Twila%20Cruickshank\MCA%20-%20Board\MEETINGS\AGM\2025%20AGM\Slide%20deck\AGM%20Data%20for%20Graphs%20(2025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ycling\Manitoba%20Cycling%20Dropbox\Twila%20Cruickshank\MCA%20-%20Board\MEETINGS\AGM\2024%20AGM\Archived\AGM%20Data%20for%20Graphs%20(2024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danielwes\Desktop\AGM%20Year%20over%20Year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danielwes\Desktop\AGM%20Year%20over%20Year%20da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ycling\Manitoba%20Cycling%20Dropbox\Twila%20Cruickshank\MCA%20-%20Board\MEETINGS\AGM\2025%20AGM\Slide%20deck\Member%20fees%20+%20License%20type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ycling\Manitoba%20Cycling%20Dropbox\Twila%20Cruickshank\MCA%20-%20Board\MEETINGS\AGM\2025%20AGM\Slide%20deck\Member%20fees%20+%20License%20type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ycling\Manitoba%20Cycling%20Dropbox\Twila%20Cruickshank\MCA%20-%20Board\MEETINGS\AGM\2025%20AGM\Slide%20deck\AGM%20Data%20for%20Graphs%20(2025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embership!$B$27</c:f>
              <c:strCache>
                <c:ptCount val="1"/>
                <c:pt idx="0">
                  <c:v>Rac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Membership!$C$26:$I$26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Membership!$C$27:$I$27</c:f>
              <c:numCache>
                <c:formatCode>General</c:formatCode>
                <c:ptCount val="7"/>
                <c:pt idx="0">
                  <c:v>454</c:v>
                </c:pt>
                <c:pt idx="1">
                  <c:v>275</c:v>
                </c:pt>
                <c:pt idx="2">
                  <c:v>240</c:v>
                </c:pt>
                <c:pt idx="3">
                  <c:v>402</c:v>
                </c:pt>
                <c:pt idx="4">
                  <c:v>386</c:v>
                </c:pt>
                <c:pt idx="5">
                  <c:v>400</c:v>
                </c:pt>
                <c:pt idx="6">
                  <c:v>6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98-4785-9C33-0CDC8D65745E}"/>
            </c:ext>
          </c:extLst>
        </c:ser>
        <c:ser>
          <c:idx val="1"/>
          <c:order val="1"/>
          <c:tx>
            <c:strRef>
              <c:f>Membership!$B$28</c:f>
              <c:strCache>
                <c:ptCount val="1"/>
                <c:pt idx="0">
                  <c:v>Non-Rac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110000"/>
                    <a:satMod val="105000"/>
                    <a:tint val="67000"/>
                  </a:schemeClr>
                </a:gs>
                <a:gs pos="50000">
                  <a:schemeClr val="accent2">
                    <a:lumMod val="105000"/>
                    <a:satMod val="103000"/>
                    <a:tint val="73000"/>
                  </a:schemeClr>
                </a:gs>
                <a:gs pos="100000">
                  <a:schemeClr val="accent2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Membership!$C$26:$I$26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Membership!$C$28:$I$28</c:f>
              <c:numCache>
                <c:formatCode>General</c:formatCode>
                <c:ptCount val="7"/>
                <c:pt idx="0">
                  <c:v>847</c:v>
                </c:pt>
                <c:pt idx="1">
                  <c:v>464</c:v>
                </c:pt>
                <c:pt idx="2">
                  <c:v>806</c:v>
                </c:pt>
                <c:pt idx="3">
                  <c:v>690</c:v>
                </c:pt>
                <c:pt idx="4">
                  <c:v>725</c:v>
                </c:pt>
                <c:pt idx="5">
                  <c:v>787</c:v>
                </c:pt>
                <c:pt idx="6">
                  <c:v>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98-4785-9C33-0CDC8D65745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579499136"/>
        <c:axId val="579504416"/>
      </c:barChart>
      <c:catAx>
        <c:axId val="579499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9504416"/>
        <c:crosses val="autoZero"/>
        <c:auto val="1"/>
        <c:lblAlgn val="ctr"/>
        <c:lblOffset val="100"/>
        <c:noMultiLvlLbl val="0"/>
      </c:catAx>
      <c:valAx>
        <c:axId val="579504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9499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7741904"/>
        <c:axId val="207742864"/>
      </c:barChart>
      <c:catAx>
        <c:axId val="207741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742864"/>
        <c:crosses val="autoZero"/>
        <c:auto val="1"/>
        <c:lblAlgn val="ctr"/>
        <c:lblOffset val="100"/>
        <c:noMultiLvlLbl val="0"/>
      </c:catAx>
      <c:valAx>
        <c:axId val="207742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741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841115790758713"/>
          <c:y val="0.17639235441887111"/>
          <c:w val="0.54844900201428315"/>
          <c:h val="0.75922131407263826"/>
        </c:manualLayout>
      </c:layout>
      <c:pieChart>
        <c:varyColors val="1"/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0E-49F2-9480-8764AD04929C}"/>
              </c:ext>
            </c:extLst>
          </c:dPt>
          <c:dPt>
            <c:idx val="1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0E-49F2-9480-8764AD04929C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C0E-49F2-9480-8764AD04929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C0E-49F2-9480-8764AD04929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C0E-49F2-9480-8764AD04929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C0E-49F2-9480-8764AD04929C}"/>
              </c:ext>
            </c:extLst>
          </c:dPt>
          <c:dLbls>
            <c:dLbl>
              <c:idx val="0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0E-49F2-9480-8764AD04929C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0E-49F2-9480-8764AD04929C}"/>
                </c:ext>
              </c:extLst>
            </c:dLbl>
            <c:dLbl>
              <c:idx val="2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C0E-49F2-9480-8764AD04929C}"/>
                </c:ext>
              </c:extLst>
            </c:dLbl>
            <c:dLbl>
              <c:idx val="3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C0E-49F2-9480-8764AD04929C}"/>
                </c:ext>
              </c:extLst>
            </c:dLbl>
            <c:dLbl>
              <c:idx val="4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C0E-49F2-9480-8764AD04929C}"/>
                </c:ext>
              </c:extLst>
            </c:dLbl>
            <c:dLbl>
              <c:idx val="5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C0E-49F2-9480-8764AD0492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'[AGM Data for Graphs (2025).xlsx]Club funding'!$C$4:$C$9</c:f>
              <c:strCache>
                <c:ptCount val="6"/>
                <c:pt idx="0">
                  <c:v>Officials</c:v>
                </c:pt>
                <c:pt idx="1">
                  <c:v>Timing System Sponsorship</c:v>
                </c:pt>
                <c:pt idx="2">
                  <c:v>MBLL (MCA)</c:v>
                </c:pt>
                <c:pt idx="3">
                  <c:v>MBLL (Clubs)</c:v>
                </c:pt>
                <c:pt idx="4">
                  <c:v>Equipment </c:v>
                </c:pt>
                <c:pt idx="5">
                  <c:v>Venue</c:v>
                </c:pt>
              </c:strCache>
            </c:strRef>
          </c:cat>
          <c:val>
            <c:numRef>
              <c:f>'[AGM Data for Graphs (2025).xlsx]Club funding'!$D$4:$D$9</c:f>
              <c:numCache>
                <c:formatCode>_("$"* #,##0.00_);_("$"* \(#,##0.00\);_("$"* "-"??_);_(@_)</c:formatCode>
                <c:ptCount val="6"/>
                <c:pt idx="0">
                  <c:v>1000</c:v>
                </c:pt>
                <c:pt idx="1">
                  <c:v>6000</c:v>
                </c:pt>
                <c:pt idx="2">
                  <c:v>13359</c:v>
                </c:pt>
                <c:pt idx="3">
                  <c:v>13572</c:v>
                </c:pt>
                <c:pt idx="4">
                  <c:v>3000</c:v>
                </c:pt>
                <c:pt idx="5" formatCode="&quot;$&quot;#,##0.00_);[Red]\(&quot;$&quot;#,##0.00\)">
                  <c:v>1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C0E-49F2-9480-8764AD0492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Events!$A$6</c:f>
              <c:strCache>
                <c:ptCount val="1"/>
                <c:pt idx="0">
                  <c:v>Virtu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6:$H$6</c:f>
              <c:numCache>
                <c:formatCode>General</c:formatCode>
                <c:ptCount val="7"/>
                <c:pt idx="0">
                  <c:v>0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79-4F03-B3F3-9250E45C2C93}"/>
            </c:ext>
          </c:extLst>
        </c:ser>
        <c:ser>
          <c:idx val="1"/>
          <c:order val="1"/>
          <c:tx>
            <c:strRef>
              <c:f>Events!$A$7</c:f>
              <c:strCache>
                <c:ptCount val="1"/>
                <c:pt idx="0">
                  <c:v>Roa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7:$H$7</c:f>
              <c:numCache>
                <c:formatCode>General</c:formatCode>
                <c:ptCount val="7"/>
                <c:pt idx="0">
                  <c:v>14</c:v>
                </c:pt>
                <c:pt idx="1">
                  <c:v>6</c:v>
                </c:pt>
                <c:pt idx="2">
                  <c:v>0</c:v>
                </c:pt>
                <c:pt idx="3">
                  <c:v>0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79-4F03-B3F3-9250E45C2C93}"/>
            </c:ext>
          </c:extLst>
        </c:ser>
        <c:ser>
          <c:idx val="2"/>
          <c:order val="2"/>
          <c:tx>
            <c:strRef>
              <c:f>Events!$A$8</c:f>
              <c:strCache>
                <c:ptCount val="1"/>
                <c:pt idx="0">
                  <c:v>Grave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8:$H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</c:v>
                </c:pt>
                <c:pt idx="5">
                  <c:v>4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79-4F03-B3F3-9250E45C2C93}"/>
            </c:ext>
          </c:extLst>
        </c:ser>
        <c:ser>
          <c:idx val="3"/>
          <c:order val="3"/>
          <c:tx>
            <c:strRef>
              <c:f>Events!$A$9</c:f>
              <c:strCache>
                <c:ptCount val="1"/>
                <c:pt idx="0">
                  <c:v>MTB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9:$H$9</c:f>
              <c:numCache>
                <c:formatCode>General</c:formatCode>
                <c:ptCount val="7"/>
                <c:pt idx="0">
                  <c:v>14</c:v>
                </c:pt>
                <c:pt idx="1">
                  <c:v>0</c:v>
                </c:pt>
                <c:pt idx="2">
                  <c:v>0</c:v>
                </c:pt>
                <c:pt idx="3">
                  <c:v>9</c:v>
                </c:pt>
                <c:pt idx="4">
                  <c:v>8</c:v>
                </c:pt>
                <c:pt idx="5">
                  <c:v>13</c:v>
                </c:pt>
                <c:pt idx="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D79-4F03-B3F3-9250E45C2C93}"/>
            </c:ext>
          </c:extLst>
        </c:ser>
        <c:ser>
          <c:idx val="4"/>
          <c:order val="4"/>
          <c:tx>
            <c:strRef>
              <c:f>Events!$A$10</c:f>
              <c:strCache>
                <c:ptCount val="1"/>
                <c:pt idx="0">
                  <c:v>CX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10:$H$10</c:f>
              <c:numCache>
                <c:formatCode>General</c:formatCode>
                <c:ptCount val="7"/>
                <c:pt idx="0">
                  <c:v>7</c:v>
                </c:pt>
                <c:pt idx="1">
                  <c:v>8</c:v>
                </c:pt>
                <c:pt idx="2">
                  <c:v>5</c:v>
                </c:pt>
                <c:pt idx="3">
                  <c:v>7</c:v>
                </c:pt>
                <c:pt idx="4">
                  <c:v>5</c:v>
                </c:pt>
                <c:pt idx="5">
                  <c:v>6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D79-4F03-B3F3-9250E45C2C93}"/>
            </c:ext>
          </c:extLst>
        </c:ser>
        <c:ser>
          <c:idx val="5"/>
          <c:order val="5"/>
          <c:tx>
            <c:strRef>
              <c:f>Events!$A$11</c:f>
              <c:strCache>
                <c:ptCount val="1"/>
                <c:pt idx="0">
                  <c:v>KOM Trailblazer Youth Seri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11:$H$1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D79-4F03-B3F3-9250E45C2C93}"/>
            </c:ext>
          </c:extLst>
        </c:ser>
        <c:ser>
          <c:idx val="6"/>
          <c:order val="6"/>
          <c:tx>
            <c:strRef>
              <c:f>Events!$A$12</c:f>
              <c:strCache>
                <c:ptCount val="1"/>
                <c:pt idx="0">
                  <c:v>Pumptrack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12:$H$1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79-4F03-B3F3-9250E45C2C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2336207"/>
        <c:axId val="192334767"/>
      </c:barChart>
      <c:lineChart>
        <c:grouping val="standard"/>
        <c:varyColors val="0"/>
        <c:ser>
          <c:idx val="7"/>
          <c:order val="7"/>
          <c:tx>
            <c:strRef>
              <c:f>Events!$A$13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Events!$B$5:$H$5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Events!$B$13:$H$13</c:f>
              <c:numCache>
                <c:formatCode>General</c:formatCode>
                <c:ptCount val="7"/>
                <c:pt idx="0">
                  <c:v>35</c:v>
                </c:pt>
                <c:pt idx="1">
                  <c:v>18</c:v>
                </c:pt>
                <c:pt idx="2">
                  <c:v>5</c:v>
                </c:pt>
                <c:pt idx="3">
                  <c:v>16</c:v>
                </c:pt>
                <c:pt idx="4">
                  <c:v>21</c:v>
                </c:pt>
                <c:pt idx="5">
                  <c:v>29</c:v>
                </c:pt>
                <c:pt idx="6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D79-4F03-B3F3-9250E45C2C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336207"/>
        <c:axId val="192334767"/>
      </c:lineChart>
      <c:catAx>
        <c:axId val="192336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334767"/>
        <c:crosses val="autoZero"/>
        <c:auto val="1"/>
        <c:lblAlgn val="ctr"/>
        <c:lblOffset val="100"/>
        <c:noMultiLvlLbl val="0"/>
      </c:catAx>
      <c:valAx>
        <c:axId val="1923347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3362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50:$C$56</c:f>
              <c:strCache>
                <c:ptCount val="7"/>
                <c:pt idx="0">
                  <c:v>Commuter</c:v>
                </c:pt>
                <c:pt idx="1">
                  <c:v>Charity</c:v>
                </c:pt>
                <c:pt idx="2">
                  <c:v>Technical</c:v>
                </c:pt>
                <c:pt idx="3">
                  <c:v>UCI (International)</c:v>
                </c:pt>
                <c:pt idx="4">
                  <c:v>Kids of Mud</c:v>
                </c:pt>
                <c:pt idx="5">
                  <c:v>Provincial Race</c:v>
                </c:pt>
                <c:pt idx="6">
                  <c:v>General</c:v>
                </c:pt>
              </c:strCache>
            </c:strRef>
          </c:cat>
          <c:val>
            <c:numRef>
              <c:f>Sheet1!$D$50:$D$56</c:f>
              <c:numCache>
                <c:formatCode>General</c:formatCode>
                <c:ptCount val="7"/>
                <c:pt idx="0">
                  <c:v>4</c:v>
                </c:pt>
                <c:pt idx="1">
                  <c:v>24</c:v>
                </c:pt>
                <c:pt idx="2">
                  <c:v>55</c:v>
                </c:pt>
                <c:pt idx="3">
                  <c:v>97</c:v>
                </c:pt>
                <c:pt idx="4">
                  <c:v>234</c:v>
                </c:pt>
                <c:pt idx="5">
                  <c:v>280</c:v>
                </c:pt>
                <c:pt idx="6">
                  <c:v>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18-4508-883A-146BDDA1D5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22347520"/>
        <c:axId val="2022364800"/>
      </c:barChart>
      <c:catAx>
        <c:axId val="202234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364800"/>
        <c:crosses val="autoZero"/>
        <c:auto val="1"/>
        <c:lblAlgn val="ctr"/>
        <c:lblOffset val="100"/>
        <c:noMultiLvlLbl val="0"/>
      </c:catAx>
      <c:valAx>
        <c:axId val="2022364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34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34250752"/>
        <c:axId val="1447843312"/>
      </c:barChart>
      <c:catAx>
        <c:axId val="143425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47843312"/>
        <c:crosses val="autoZero"/>
        <c:auto val="1"/>
        <c:lblAlgn val="ctr"/>
        <c:lblOffset val="100"/>
        <c:noMultiLvlLbl val="0"/>
      </c:catAx>
      <c:valAx>
        <c:axId val="144784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425075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358705161854769E-2"/>
          <c:y val="7.407407407407407E-2"/>
          <c:w val="0.89019685039370078"/>
          <c:h val="0.8416746864975212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EA3-443E-9B04-010D3A301F89}"/>
              </c:ext>
            </c:extLst>
          </c:dPt>
          <c:dPt>
            <c:idx val="1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EA3-443E-9B04-010D3A301F89}"/>
              </c:ext>
            </c:extLst>
          </c:dPt>
          <c:dPt>
            <c:idx val="2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EA3-443E-9B04-010D3A301F89}"/>
              </c:ext>
            </c:extLst>
          </c:dPt>
          <c:dPt>
            <c:idx val="3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EA3-443E-9B04-010D3A301F89}"/>
              </c:ext>
            </c:extLst>
          </c:dPt>
          <c:dPt>
            <c:idx val="4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EA3-443E-9B04-010D3A301F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ash"/>
              </a:ln>
              <a:effectLst/>
            </c:spPr>
            <c:trendlineType val="linear"/>
            <c:dispRSqr val="0"/>
            <c:dispEq val="0"/>
          </c:trendline>
          <c:cat>
            <c:numRef>
              <c:f>'KIDS OF MUD 2025'!$B$10:$B$14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'KIDS OF MUD 2025'!$C$10:$C$14</c:f>
              <c:numCache>
                <c:formatCode>General</c:formatCode>
                <c:ptCount val="5"/>
                <c:pt idx="0">
                  <c:v>445</c:v>
                </c:pt>
                <c:pt idx="1">
                  <c:v>380</c:v>
                </c:pt>
                <c:pt idx="2">
                  <c:v>387</c:v>
                </c:pt>
                <c:pt idx="3">
                  <c:v>275</c:v>
                </c:pt>
                <c:pt idx="4">
                  <c:v>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EA3-443E-9B04-010D3A301F8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483440847"/>
        <c:axId val="1483441327"/>
      </c:barChart>
      <c:catAx>
        <c:axId val="1483440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3441327"/>
        <c:crosses val="autoZero"/>
        <c:auto val="1"/>
        <c:lblAlgn val="ctr"/>
        <c:lblOffset val="100"/>
        <c:noMultiLvlLbl val="0"/>
      </c:catAx>
      <c:valAx>
        <c:axId val="1483441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3440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 dirty="0"/>
              <a:t>Athlete Particip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692038495188102E-2"/>
          <c:y val="0.19486111111111112"/>
          <c:w val="0.90286351706036749"/>
          <c:h val="0.7208876494604841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44-46BC-9DAE-A9B46200C11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944-46BC-9DAE-A9B46200C11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944-46BC-9DAE-A9B46200C11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944-46BC-9DAE-A9B46200C11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944-46BC-9DAE-A9B46200C11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Prov ProgramPP'!$B$6:$B$10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'Prov ProgramPP'!$C$6:$C$10</c:f>
              <c:numCache>
                <c:formatCode>General</c:formatCode>
                <c:ptCount val="5"/>
                <c:pt idx="0">
                  <c:v>24</c:v>
                </c:pt>
                <c:pt idx="1">
                  <c:v>24</c:v>
                </c:pt>
                <c:pt idx="2">
                  <c:v>23</c:v>
                </c:pt>
                <c:pt idx="3">
                  <c:v>28</c:v>
                </c:pt>
                <c:pt idx="4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944-46BC-9DAE-A9B46200C11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89037983"/>
        <c:axId val="1427561631"/>
      </c:barChart>
      <c:catAx>
        <c:axId val="15890379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7561631"/>
        <c:crosses val="autoZero"/>
        <c:auto val="1"/>
        <c:lblAlgn val="ctr"/>
        <c:lblOffset val="100"/>
        <c:noMultiLvlLbl val="0"/>
      </c:catAx>
      <c:valAx>
        <c:axId val="14275616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890379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34250752"/>
        <c:axId val="1447843312"/>
      </c:barChart>
      <c:catAx>
        <c:axId val="143425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47843312"/>
        <c:crosses val="autoZero"/>
        <c:auto val="1"/>
        <c:lblAlgn val="ctr"/>
        <c:lblOffset val="100"/>
        <c:noMultiLvlLbl val="0"/>
      </c:catAx>
      <c:valAx>
        <c:axId val="144784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4250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841115790758713"/>
          <c:y val="0.17639235441887111"/>
          <c:w val="0.54844900201428315"/>
          <c:h val="0.75922131407263826"/>
        </c:manualLayout>
      </c:layout>
      <c:pieChart>
        <c:varyColors val="1"/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4B-4FB2-8F86-D2160EE10836}"/>
              </c:ext>
            </c:extLst>
          </c:dPt>
          <c:dPt>
            <c:idx val="1"/>
            <c:bubble3D val="0"/>
            <c:spPr>
              <a:solidFill>
                <a:srgbClr val="F4BF2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4B-4FB2-8F86-D2160EE10836}"/>
              </c:ext>
            </c:extLst>
          </c:dPt>
          <c:dPt>
            <c:idx val="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54B-4FB2-8F86-D2160EE1083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54B-4FB2-8F86-D2160EE1083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54B-4FB2-8F86-D2160EE1083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7457926192960815E-2"/>
                      <c:h val="0.1544109676470724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54B-4FB2-8F86-D2160EE108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C$67:$C$71</c:f>
              <c:strCache>
                <c:ptCount val="5"/>
                <c:pt idx="0">
                  <c:v>North</c:v>
                </c:pt>
                <c:pt idx="1">
                  <c:v>West</c:v>
                </c:pt>
                <c:pt idx="2">
                  <c:v>South</c:v>
                </c:pt>
                <c:pt idx="3">
                  <c:v>East</c:v>
                </c:pt>
                <c:pt idx="4">
                  <c:v>Winnipeg</c:v>
                </c:pt>
              </c:strCache>
            </c:strRef>
          </c:cat>
          <c:val>
            <c:numRef>
              <c:f>Sheet1!$D$67:$D$71</c:f>
              <c:numCache>
                <c:formatCode>General</c:formatCode>
                <c:ptCount val="5"/>
                <c:pt idx="0">
                  <c:v>0</c:v>
                </c:pt>
                <c:pt idx="1">
                  <c:v>30</c:v>
                </c:pt>
                <c:pt idx="2">
                  <c:v>92</c:v>
                </c:pt>
                <c:pt idx="3">
                  <c:v>102</c:v>
                </c:pt>
                <c:pt idx="4">
                  <c:v>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54B-4FB2-8F86-D2160EE10836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 dirty="0"/>
              <a:t>Manitoba Cycling Club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Adult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Clubs!$B$10:$B$25</c:f>
              <c:strCache>
                <c:ptCount val="16"/>
                <c:pt idx="0">
                  <c:v>Devo Manitoba</c:v>
                </c:pt>
                <c:pt idx="1">
                  <c:v>Devo One</c:v>
                </c:pt>
                <c:pt idx="2">
                  <c:v>Team Manitoba</c:v>
                </c:pt>
                <c:pt idx="3">
                  <c:v>Dark Red Racing</c:v>
                </c:pt>
                <c:pt idx="4">
                  <c:v>Prairie Mountain Cycling</c:v>
                </c:pt>
                <c:pt idx="5">
                  <c:v>Manitoba Randonneurs</c:v>
                </c:pt>
                <c:pt idx="6">
                  <c:v>Green Route Cycling Club</c:v>
                </c:pt>
                <c:pt idx="7">
                  <c:v>FOG Cycling Club</c:v>
                </c:pt>
                <c:pt idx="8">
                  <c:v>Wolseley Wheels</c:v>
                </c:pt>
                <c:pt idx="9">
                  <c:v>Country Cycle</c:v>
                </c:pt>
                <c:pt idx="10">
                  <c:v>Olympia Cycling Club</c:v>
                </c:pt>
                <c:pt idx="11">
                  <c:v>Velodonnas</c:v>
                </c:pt>
                <c:pt idx="12">
                  <c:v>Bikes &amp; Beyond</c:v>
                </c:pt>
                <c:pt idx="13">
                  <c:v>Woodcock Cycle Works</c:v>
                </c:pt>
                <c:pt idx="14">
                  <c:v>Red River Cycling Club</c:v>
                </c:pt>
                <c:pt idx="15">
                  <c:v>Not affiliated</c:v>
                </c:pt>
              </c:strCache>
            </c:strRef>
          </c:cat>
          <c:val>
            <c:numRef>
              <c:f>Clubs!$C$10:$C$25</c:f>
              <c:numCache>
                <c:formatCode>General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7</c:v>
                </c:pt>
                <c:pt idx="5">
                  <c:v>31</c:v>
                </c:pt>
                <c:pt idx="6">
                  <c:v>34</c:v>
                </c:pt>
                <c:pt idx="7">
                  <c:v>36</c:v>
                </c:pt>
                <c:pt idx="8">
                  <c:v>2</c:v>
                </c:pt>
                <c:pt idx="9">
                  <c:v>9</c:v>
                </c:pt>
                <c:pt idx="10">
                  <c:v>24</c:v>
                </c:pt>
                <c:pt idx="11">
                  <c:v>98</c:v>
                </c:pt>
                <c:pt idx="12">
                  <c:v>61</c:v>
                </c:pt>
                <c:pt idx="13">
                  <c:v>68</c:v>
                </c:pt>
                <c:pt idx="14">
                  <c:v>86</c:v>
                </c:pt>
                <c:pt idx="15">
                  <c:v>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4A-49F2-965D-5D3C78366728}"/>
            </c:ext>
          </c:extLst>
        </c:ser>
        <c:ser>
          <c:idx val="1"/>
          <c:order val="1"/>
          <c:tx>
            <c:v>Youth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lubs!$B$10:$B$25</c:f>
              <c:strCache>
                <c:ptCount val="16"/>
                <c:pt idx="0">
                  <c:v>Devo Manitoba</c:v>
                </c:pt>
                <c:pt idx="1">
                  <c:v>Devo One</c:v>
                </c:pt>
                <c:pt idx="2">
                  <c:v>Team Manitoba</c:v>
                </c:pt>
                <c:pt idx="3">
                  <c:v>Dark Red Racing</c:v>
                </c:pt>
                <c:pt idx="4">
                  <c:v>Prairie Mountain Cycling</c:v>
                </c:pt>
                <c:pt idx="5">
                  <c:v>Manitoba Randonneurs</c:v>
                </c:pt>
                <c:pt idx="6">
                  <c:v>Green Route Cycling Club</c:v>
                </c:pt>
                <c:pt idx="7">
                  <c:v>FOG Cycling Club</c:v>
                </c:pt>
                <c:pt idx="8">
                  <c:v>Wolseley Wheels</c:v>
                </c:pt>
                <c:pt idx="9">
                  <c:v>Country Cycle</c:v>
                </c:pt>
                <c:pt idx="10">
                  <c:v>Olympia Cycling Club</c:v>
                </c:pt>
                <c:pt idx="11">
                  <c:v>Velodonnas</c:v>
                </c:pt>
                <c:pt idx="12">
                  <c:v>Bikes &amp; Beyond</c:v>
                </c:pt>
                <c:pt idx="13">
                  <c:v>Woodcock Cycle Works</c:v>
                </c:pt>
                <c:pt idx="14">
                  <c:v>Red River Cycling Club</c:v>
                </c:pt>
                <c:pt idx="15">
                  <c:v>Not affiliated</c:v>
                </c:pt>
              </c:strCache>
            </c:strRef>
          </c:cat>
          <c:val>
            <c:numRef>
              <c:f>Clubs!$D$10:$D$25</c:f>
              <c:numCache>
                <c:formatCode>General</c:formatCode>
                <c:ptCount val="16"/>
                <c:pt idx="0">
                  <c:v>8</c:v>
                </c:pt>
                <c:pt idx="1">
                  <c:v>8</c:v>
                </c:pt>
                <c:pt idx="2">
                  <c:v>13</c:v>
                </c:pt>
                <c:pt idx="3">
                  <c:v>0</c:v>
                </c:pt>
                <c:pt idx="4">
                  <c:v>1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43</c:v>
                </c:pt>
                <c:pt idx="9">
                  <c:v>38</c:v>
                </c:pt>
                <c:pt idx="10">
                  <c:v>38</c:v>
                </c:pt>
                <c:pt idx="11">
                  <c:v>0</c:v>
                </c:pt>
                <c:pt idx="12">
                  <c:v>53</c:v>
                </c:pt>
                <c:pt idx="13">
                  <c:v>62</c:v>
                </c:pt>
                <c:pt idx="14">
                  <c:v>48</c:v>
                </c:pt>
                <c:pt idx="15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4A-49F2-965D-5D3C783667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16189967"/>
        <c:axId val="1516188047"/>
      </c:barChart>
      <c:lineChart>
        <c:grouping val="standard"/>
        <c:varyColors val="0"/>
        <c:ser>
          <c:idx val="2"/>
          <c:order val="2"/>
          <c:tx>
            <c:v>Total Members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Clubs!$B$10:$B$25</c:f>
              <c:strCache>
                <c:ptCount val="16"/>
                <c:pt idx="0">
                  <c:v>Devo Manitoba</c:v>
                </c:pt>
                <c:pt idx="1">
                  <c:v>Devo One</c:v>
                </c:pt>
                <c:pt idx="2">
                  <c:v>Team Manitoba</c:v>
                </c:pt>
                <c:pt idx="3">
                  <c:v>Dark Red Racing</c:v>
                </c:pt>
                <c:pt idx="4">
                  <c:v>Prairie Mountain Cycling</c:v>
                </c:pt>
                <c:pt idx="5">
                  <c:v>Manitoba Randonneurs</c:v>
                </c:pt>
                <c:pt idx="6">
                  <c:v>Green Route Cycling Club</c:v>
                </c:pt>
                <c:pt idx="7">
                  <c:v>FOG Cycling Club</c:v>
                </c:pt>
                <c:pt idx="8">
                  <c:v>Wolseley Wheels</c:v>
                </c:pt>
                <c:pt idx="9">
                  <c:v>Country Cycle</c:v>
                </c:pt>
                <c:pt idx="10">
                  <c:v>Olympia Cycling Club</c:v>
                </c:pt>
                <c:pt idx="11">
                  <c:v>Velodonnas</c:v>
                </c:pt>
                <c:pt idx="12">
                  <c:v>Bikes &amp; Beyond</c:v>
                </c:pt>
                <c:pt idx="13">
                  <c:v>Woodcock Cycle Works</c:v>
                </c:pt>
                <c:pt idx="14">
                  <c:v>Red River Cycling Club</c:v>
                </c:pt>
                <c:pt idx="15">
                  <c:v>Not affiliated</c:v>
                </c:pt>
              </c:strCache>
            </c:strRef>
          </c:cat>
          <c:val>
            <c:numRef>
              <c:f>Clubs!$E$10:$E$25</c:f>
              <c:numCache>
                <c:formatCode>General</c:formatCode>
                <c:ptCount val="16"/>
                <c:pt idx="0">
                  <c:v>8</c:v>
                </c:pt>
                <c:pt idx="1">
                  <c:v>8</c:v>
                </c:pt>
                <c:pt idx="2">
                  <c:v>13</c:v>
                </c:pt>
                <c:pt idx="3">
                  <c:v>14</c:v>
                </c:pt>
                <c:pt idx="4">
                  <c:v>18</c:v>
                </c:pt>
                <c:pt idx="5">
                  <c:v>31</c:v>
                </c:pt>
                <c:pt idx="6">
                  <c:v>34</c:v>
                </c:pt>
                <c:pt idx="7">
                  <c:v>36</c:v>
                </c:pt>
                <c:pt idx="8">
                  <c:v>45</c:v>
                </c:pt>
                <c:pt idx="9">
                  <c:v>47</c:v>
                </c:pt>
                <c:pt idx="10">
                  <c:v>62</c:v>
                </c:pt>
                <c:pt idx="11">
                  <c:v>98</c:v>
                </c:pt>
                <c:pt idx="12">
                  <c:v>114</c:v>
                </c:pt>
                <c:pt idx="13">
                  <c:v>130</c:v>
                </c:pt>
                <c:pt idx="14">
                  <c:v>134</c:v>
                </c:pt>
                <c:pt idx="15">
                  <c:v>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14A-49F2-965D-5D3C783667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16189967"/>
        <c:axId val="1516188047"/>
      </c:lineChart>
      <c:catAx>
        <c:axId val="1516189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6188047"/>
        <c:crosses val="autoZero"/>
        <c:auto val="1"/>
        <c:lblAlgn val="ctr"/>
        <c:lblOffset val="100"/>
        <c:noMultiLvlLbl val="0"/>
      </c:catAx>
      <c:valAx>
        <c:axId val="1516188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6189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6.jp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1</cdr:y>
    </cdr:to>
    <cdr:pic>
      <cdr:nvPicPr>
        <cdr:cNvPr id="5" name="Picture 4" descr="A group of people on bikes in a grassy area&#10;&#10;AI-generated content may be incorrect.">
          <a:extLst xmlns:a="http://schemas.openxmlformats.org/drawingml/2006/main">
            <a:ext uri="{FF2B5EF4-FFF2-40B4-BE49-F238E27FC236}">
              <a16:creationId xmlns:a16="http://schemas.microsoft.com/office/drawing/2014/main" id="{1851D1A8-68D5-BD7E-F55F-6C59F1BD034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2104659" cy="1854852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9D25B62-5347-B150-26C9-F5651C2D4B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CA1FEB-8867-F148-F440-E8F62A6720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99A286-EF1D-442C-AA1B-93FFBEEF2B81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3AC50D-DAC9-5267-139B-0F6A798204C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5E1B67-52B1-B0AF-03B4-9876E52EB0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12CEF2-8109-4102-B37C-3429C9D05C0D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03695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56D3790-E1B9-4A9B-B7FE-A7197101B0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C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FF8643-741B-41C7-8F2D-B659D24A4D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92A71C03-8DD8-482E-AEE1-26F9DD9ECD56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0BDBD74-738E-4EFE-8438-82A5B8A997A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CA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6A106FE-5127-4AC1-8170-A3C7DA0281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7F2592-7956-44BF-BBC0-05D8556A275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BA400A-0C95-46E1-AB3A-0953C0907D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54112504-6EE5-4F9A-BB81-4540BEA69F23}" type="slidenum">
              <a:rPr lang="en-CA" smtClean="0"/>
              <a:t>‹#›</a:t>
            </a:fld>
            <a:endParaRPr lang="en-C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1200150"/>
            <a:ext cx="5759450" cy="324008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7pm Start - PAU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188819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DAN)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402685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Dan)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on: Be it resolved that the audited financial statements for fiscal year 2024-2025 be approved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on Be it resolved that Scarrow and Donald be appointed as auditors for the fiscal year 2025-2026.</a:t>
            </a:r>
            <a:endParaRPr lang="en-C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904699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DA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803608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923143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6F727-00A8-8FFC-9935-A10263707E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DDCA4-524C-0AB0-75BA-E32A8D36C5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6B321F-1EEE-FE66-E33C-1D91F04D53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WIL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6A265-7960-0DB9-1006-DE79BCE1BA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072499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7C7F0-90F7-D643-3D28-DA03F5CC3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A58E6D-46CC-E57E-0C3D-98C30D809A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FACCEE-1F46-76BF-2D5F-07AF987A4B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mmary – supporting documents</a:t>
            </a:r>
          </a:p>
          <a:p>
            <a:endParaRPr lang="en-US" dirty="0"/>
          </a:p>
          <a:p>
            <a:r>
              <a:rPr lang="en-US" dirty="0"/>
              <a:t>Sport Mandate –develop athletes, coaches, officials, and volunteers</a:t>
            </a:r>
          </a:p>
          <a:p>
            <a:endParaRPr lang="en-US" dirty="0"/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P: Canada Games year – coach certification/Podium resul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ubs: equip/grants/community champion 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ogram Quality: expanding KOM curriculum/Grassroots outreach/Clinics, Prof Dev coaches, Marketing + Communications of progra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overnance – Revised Mission/Vision, Expanded event sanctioning, policy revisions, formed sub-committe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inancial Health: Investments, contingency plan, sustainable programm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afesport – Rule of 2, Safesport training,  Race organizer/commissaire collaboration  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2F403F-9B8C-47A0-A6E3-4E79D6DCA7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4491231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713ED-F975-4284-1951-ABD348215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E82D18-9E16-C43F-2471-BFB674CD3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B65F2A-BB6D-8CE0-66A9-9360B1DAEF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 </a:t>
            </a:r>
          </a:p>
          <a:p>
            <a:endParaRPr lang="en-US" dirty="0"/>
          </a:p>
          <a:p>
            <a:r>
              <a:rPr lang="en-US" dirty="0"/>
              <a:t>1035 vs 1187 in 2024) -152</a:t>
            </a:r>
          </a:p>
          <a:p>
            <a:endParaRPr lang="en-US" dirty="0"/>
          </a:p>
          <a:p>
            <a:r>
              <a:rPr lang="en-US" dirty="0"/>
              <a:t>Membership sales:</a:t>
            </a:r>
          </a:p>
          <a:p>
            <a:r>
              <a:rPr lang="en-US" dirty="0"/>
              <a:t>$93K (Current). $87K 2024  (Insurance: $45K)</a:t>
            </a:r>
          </a:p>
          <a:p>
            <a:endParaRPr lang="en-US" dirty="0"/>
          </a:p>
          <a:p>
            <a:r>
              <a:rPr lang="en-US" dirty="0"/>
              <a:t>6 events cancellations </a:t>
            </a:r>
          </a:p>
          <a:p>
            <a:r>
              <a:rPr lang="en-US" dirty="0"/>
              <a:t>Race: 400 (2024)/ 386 (2023).    </a:t>
            </a:r>
            <a:r>
              <a:rPr lang="en-US" dirty="0">
                <a:solidFill>
                  <a:srgbClr val="FF0000"/>
                </a:solidFill>
              </a:rPr>
              <a:t>KOM license change.</a:t>
            </a:r>
          </a:p>
          <a:p>
            <a:r>
              <a:rPr lang="en-US" dirty="0"/>
              <a:t>Non-race: 787 (2024)/ 725 (2023)</a:t>
            </a:r>
          </a:p>
          <a:p>
            <a:endParaRPr lang="en-US" dirty="0"/>
          </a:p>
          <a:p>
            <a:r>
              <a:rPr lang="en-US" dirty="0"/>
              <a:t>HopOn 2024 = 84/2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F8E210-7C6D-C067-45E8-77D1D13D91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124237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E4ED9-76CF-B0FE-800A-AC56E7430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AC0106-0DB2-B2A5-C95C-B220DF58A5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5DB54-D982-EE14-912D-A21D6DAB80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  <a:p>
            <a:endParaRPr lang="en-US" dirty="0"/>
          </a:p>
          <a:p>
            <a:r>
              <a:rPr lang="en-US" dirty="0"/>
              <a:t>Fees (Goal: dec 01 launch).  Fees stay same if purchased before Dec 31.  Increase $5 annually after Jan 01</a:t>
            </a:r>
          </a:p>
          <a:p>
            <a:endParaRPr lang="en-US" dirty="0"/>
          </a:p>
          <a:p>
            <a:r>
              <a:rPr lang="en-US" dirty="0"/>
              <a:t>Race 610/Non Race 425</a:t>
            </a:r>
          </a:p>
          <a:p>
            <a:endParaRPr lang="en-US" dirty="0"/>
          </a:p>
          <a:p>
            <a:r>
              <a:rPr lang="en-US" dirty="0"/>
              <a:t>Commuter 4</a:t>
            </a:r>
          </a:p>
          <a:p>
            <a:r>
              <a:rPr lang="en-US" dirty="0"/>
              <a:t>KOM 234</a:t>
            </a:r>
          </a:p>
          <a:p>
            <a:r>
              <a:rPr lang="en-US" dirty="0"/>
              <a:t>Provincial Race 279</a:t>
            </a:r>
          </a:p>
          <a:p>
            <a:r>
              <a:rPr lang="en-US" dirty="0"/>
              <a:t>Technical 55</a:t>
            </a:r>
          </a:p>
          <a:p>
            <a:r>
              <a:rPr lang="en-US" dirty="0"/>
              <a:t>UCI 97</a:t>
            </a:r>
          </a:p>
          <a:p>
            <a:r>
              <a:rPr lang="en-US" dirty="0"/>
              <a:t>Charity 24</a:t>
            </a:r>
          </a:p>
          <a:p>
            <a:endParaRPr lang="en-US" dirty="0"/>
          </a:p>
          <a:p>
            <a:r>
              <a:rPr lang="en-US" dirty="0"/>
              <a:t>2024: 1187 members</a:t>
            </a:r>
          </a:p>
          <a:p>
            <a:r>
              <a:rPr lang="en-US" dirty="0"/>
              <a:t>MCA is a Member Association. Memberships sales previous year $81,206.  (Total Insurance audited Financials $50,823) + </a:t>
            </a:r>
          </a:p>
          <a:p>
            <a:r>
              <a:rPr lang="en-US" dirty="0"/>
              <a:t>Previous year memberships: 386 race/725 non-race</a:t>
            </a:r>
          </a:p>
          <a:p>
            <a:endParaRPr lang="en-US" dirty="0"/>
          </a:p>
          <a:p>
            <a:r>
              <a:rPr lang="en-US" dirty="0"/>
              <a:t>Race Memberships 2024</a:t>
            </a:r>
          </a:p>
          <a:p>
            <a:r>
              <a:rPr lang="en-US" dirty="0"/>
              <a:t>General Increase 2024:               (HopOn 84 + Team 81 2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AEF9C0-06F4-F0E0-EFC0-A8B53CB5FA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969541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2CAFE-808B-8C41-DAB2-0853BB603E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0023FA-D4BB-CF68-1533-7CCACB41FB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4CC22B-A054-E841-A1F4-0E1E4D9D2C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6D1536-70B3-3311-7DBE-B9125F3454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68716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 – any KOM committee reps or presidents?</a:t>
            </a:r>
          </a:p>
          <a:p>
            <a:endParaRPr lang="en-US" dirty="0"/>
          </a:p>
          <a:p>
            <a:r>
              <a:rPr lang="en-US" dirty="0"/>
              <a:t>Annual report presentation: Stephanie Keith</a:t>
            </a:r>
          </a:p>
          <a:p>
            <a:endParaRPr lang="en-US" dirty="0"/>
          </a:p>
          <a:p>
            <a:r>
              <a:rPr lang="en-US" dirty="0"/>
              <a:t>20 year program</a:t>
            </a:r>
          </a:p>
          <a:p>
            <a:r>
              <a:rPr lang="en-US" dirty="0"/>
              <a:t>Administered by MCA affiliated Clubs</a:t>
            </a:r>
          </a:p>
          <a:p>
            <a:r>
              <a:rPr lang="en-US" dirty="0"/>
              <a:t>KOM Committee: Rep from each clu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1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21583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(Paul)</a:t>
            </a:r>
          </a:p>
          <a:p>
            <a:endParaRPr lang="en-US"/>
          </a:p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071899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 – Nick to present Annual repor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964138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D5B131-CC68-5494-68E4-58AC4560F9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3FA25F-BB18-CF9C-49A6-61C0EDD37E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D76930-739D-4842-1684-861B5B6506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  *10 athletes have advised KOM/MB Games – Devo One and onward</a:t>
            </a:r>
          </a:p>
          <a:p>
            <a:endParaRPr lang="en-US" dirty="0"/>
          </a:p>
          <a:p>
            <a:r>
              <a:rPr lang="en-US" dirty="0"/>
              <a:t>Strong programming at different developmental levels.</a:t>
            </a:r>
          </a:p>
          <a:p>
            <a:r>
              <a:rPr lang="en-US" dirty="0"/>
              <a:t>Goal: strengthen pathway, educate athletes on next steps, Inspire next generation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AA7DC-A140-007E-CEC8-F8C8502EE6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397411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46DDD-2494-8193-E94D-981252D5DF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2051CB-B7E6-0E03-5DF9-75E04F7FD6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460BCE-A3FF-B6D1-88A2-C8D56C1A17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CB2D3-05CB-BAA1-9510-70499BFF5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93821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  <a:p>
            <a:endParaRPr lang="en-US" dirty="0"/>
          </a:p>
          <a:p>
            <a:r>
              <a:rPr lang="en-US" dirty="0"/>
              <a:t>19 Clubs: Down from 20 in 2024</a:t>
            </a:r>
          </a:p>
          <a:p>
            <a:r>
              <a:rPr lang="en-US" dirty="0"/>
              <a:t>+2 new partnerships in 2025</a:t>
            </a:r>
          </a:p>
          <a:p>
            <a:endParaRPr lang="en-US" dirty="0"/>
          </a:p>
          <a:p>
            <a:r>
              <a:rPr lang="en-US" dirty="0"/>
              <a:t>The MCA depends on a strong club network for the continued growth of cycling in Manitoba.</a:t>
            </a:r>
          </a:p>
          <a:p>
            <a:r>
              <a:rPr lang="en-US" dirty="0"/>
              <a:t>Clubs are often first point of contact for a cycling enthusiast</a:t>
            </a:r>
          </a:p>
          <a:p>
            <a:r>
              <a:rPr lang="en-US" dirty="0"/>
              <a:t>Clubs organize more races and activities</a:t>
            </a:r>
          </a:p>
          <a:p>
            <a:r>
              <a:rPr lang="en-US" dirty="0"/>
              <a:t>Clubs Volunteer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560164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028327-7B1B-47D3-44DA-91E7D727C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376F23-4FD5-CEF8-6B84-7A787B2587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B34DA7-4BEE-D726-7DE4-33EA6CF802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East St Paul (Cycling w Sarah)</a:t>
            </a:r>
          </a:p>
          <a:p>
            <a:endParaRPr lang="en-US" dirty="0"/>
          </a:p>
          <a:p>
            <a:r>
              <a:rPr lang="en-US" dirty="0"/>
              <a:t>Race Memberships 2024</a:t>
            </a:r>
          </a:p>
          <a:p>
            <a:r>
              <a:rPr lang="en-US" dirty="0"/>
              <a:t>General Increase 2024:               (HopOn 84 + Team 81 2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BC0B1-416E-DA66-77A9-0369366BDA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1873655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B2E06-703B-D4AF-3530-B9B3155A07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B9157D-02C5-27C5-342B-AFC77639FC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A660F2-D5A6-1AE0-D5D4-FC9746323F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  Just under $50K  (Apr-Nov)</a:t>
            </a:r>
          </a:p>
          <a:p>
            <a:endParaRPr lang="en-US" dirty="0"/>
          </a:p>
          <a:p>
            <a:r>
              <a:rPr lang="en-US" dirty="0"/>
              <a:t>Pink: Officials clothing, training, licensing </a:t>
            </a:r>
          </a:p>
          <a:p>
            <a:r>
              <a:rPr lang="en-US" dirty="0"/>
              <a:t>Sponsorship: Bikes &amp; Beyond sponsorship (3 years). Only cost to organizing club is for Zone 4 operator</a:t>
            </a:r>
          </a:p>
          <a:p>
            <a:r>
              <a:rPr lang="en-US" dirty="0"/>
              <a:t>Yellow: MBLL MCA rural sport development  (example: TDRM, Charlotte Batty coach clinics)</a:t>
            </a:r>
          </a:p>
          <a:p>
            <a:r>
              <a:rPr lang="en-US" dirty="0"/>
              <a:t>Blue: MBLL Club funding. Club applications approved</a:t>
            </a:r>
          </a:p>
          <a:p>
            <a:r>
              <a:rPr lang="en-US" dirty="0"/>
              <a:t>Green: Equipment</a:t>
            </a:r>
          </a:p>
          <a:p>
            <a:r>
              <a:rPr lang="en-US" dirty="0"/>
              <a:t>Red – Bison Butte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8051E-A627-E2D5-7855-53B24962C9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001051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4654FB-7BA7-F355-1A9E-0F00B5B140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6A1DE0-E68F-B2BF-0697-20858B0040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AD5552-BCCC-35C9-81F2-213B0036E5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636EE-DC32-19C6-4091-0F1E158D98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295318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079AC-33F9-D517-404F-A84A2D781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50EE10-1DAF-329B-3D18-07A52BC7A5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D4F3A1-F1BB-57E9-3B71-CF7C9980D1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  <a:p>
            <a:endParaRPr lang="en-US" dirty="0"/>
          </a:p>
          <a:p>
            <a:r>
              <a:rPr lang="en-US" dirty="0"/>
              <a:t>7 cancelled events..including 1 charity/1 gran fondo (Air quality, venue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03E784-5958-1A27-4C8E-7444F0568F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039380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***********Gregory McNeil + Steve Scoles Ack*********************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141308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20C7-7031-8D05-4786-540DB6230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3BA8E2-BFE9-6976-0F88-86E1AF5D57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113D37-58EF-8D52-3D65-5BEF2A029D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</a:t>
            </a:r>
          </a:p>
          <a:p>
            <a:endParaRPr lang="en-US" dirty="0"/>
          </a:p>
          <a:p>
            <a:r>
              <a:rPr lang="en-US" dirty="0"/>
              <a:t>4 committees and 2 sub committe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95D283-D9D4-1414-A0E0-2938A4BF8A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2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602683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(Paul)</a:t>
            </a:r>
          </a:p>
          <a:p>
            <a:endParaRPr lang="en-US" dirty="0"/>
          </a:p>
          <a:p>
            <a:r>
              <a:rPr lang="en-US" dirty="0"/>
              <a:t>Welcome/Opening remarks</a:t>
            </a:r>
          </a:p>
          <a:p>
            <a:endParaRPr lang="en-US" dirty="0"/>
          </a:p>
          <a:p>
            <a:r>
              <a:rPr lang="en-US" dirty="0"/>
              <a:t>Meeting will be recorded for minutes</a:t>
            </a:r>
          </a:p>
          <a:p>
            <a:endParaRPr lang="en-US" dirty="0"/>
          </a:p>
          <a:p>
            <a:r>
              <a:rPr lang="en-US" dirty="0"/>
              <a:t>Documents (Link to event calendar sent in email)</a:t>
            </a:r>
          </a:p>
          <a:p>
            <a:endParaRPr lang="en-US" dirty="0"/>
          </a:p>
          <a:p>
            <a:r>
              <a:rPr lang="en-US" dirty="0"/>
              <a:t>Online Participants: identify name, keep cameras on if possible to support engagement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otions/Seconds:  Chair will ask for Motion and seconder from floor and repeat names for secretary to record</a:t>
            </a:r>
          </a:p>
          <a:p>
            <a:endParaRPr lang="en-US" dirty="0"/>
          </a:p>
          <a:p>
            <a:r>
              <a:rPr lang="en-US" dirty="0"/>
              <a:t>This is a meeting of members.  Only MCA members can vote.</a:t>
            </a:r>
          </a:p>
          <a:p>
            <a:r>
              <a:rPr lang="en-US" dirty="0"/>
              <a:t>Voting members under age of 18 (as of Nov 19) may have their vote exercised by a parent/guardian</a:t>
            </a:r>
          </a:p>
          <a:p>
            <a:r>
              <a:rPr lang="en-US" dirty="0"/>
              <a:t>	</a:t>
            </a:r>
          </a:p>
          <a:p>
            <a:r>
              <a:rPr lang="en-US" dirty="0"/>
              <a:t>Elections: if more than one person running for position will use voting poll.  Tie = re-vo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488808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3D199F-E64A-034C-16FF-F48C3EA4C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7085FD-5E7F-F059-FE9A-4AD03DAE71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47BEB0-3C2D-3081-AECF-22B5655CE3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 – REPORT FROM BB Committee Rep</a:t>
            </a:r>
          </a:p>
          <a:p>
            <a:endParaRPr lang="en-US" dirty="0"/>
          </a:p>
          <a:p>
            <a:r>
              <a:rPr lang="en-US" dirty="0"/>
              <a:t>Looking to grow committee from 7 to 10 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55F1FF-8BA0-7721-630A-686FE183C0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843473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5FBCDF-7BC0-242A-9401-14B300E63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9E65BF-7804-1989-7BCF-3E54A1AAE2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A18FF3-FB17-2444-E274-05C81E36E1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wila) – Aggie Repor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88044A-845C-E02E-3472-173292A115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7268829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54098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2B1404-7066-D590-9664-F0FA5CF252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674A5C-50BC-B5A7-63C6-35ACF15DE0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355DA7-FE3A-80EA-1D92-46C9391E04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endParaRPr lang="en-US" dirty="0"/>
          </a:p>
          <a:p>
            <a:r>
              <a:rPr lang="en-US" dirty="0"/>
              <a:t>Reformat chart/col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9B166D-29BC-9473-A896-E24B68287D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851762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7275712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711626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endParaRPr lang="en-US" dirty="0"/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on: Be it resolves that the results of the election be approved and the e-ballots (if required) will be destroy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110941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3856095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r>
              <a:rPr lang="en-US" dirty="0"/>
              <a:t>Re-election poll if needed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0350667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r>
              <a:rPr lang="en-US" dirty="0"/>
              <a:t>Board Elections Poll if additional interest from floor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3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3099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822910-616E-7E08-9CEE-51992827B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9E4CD8-399E-3EB2-8A36-7F394855EB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01C24C-C502-E3B2-F252-93334AE8CC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4D6A91-D0CE-FDB8-DB41-A5A9D52187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6143871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4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9400489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endParaRPr lang="en-US" dirty="0"/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on: Be it resolved that the meeting be adjourn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4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0162315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K:  Gregory McNeil (Photos) + Steve Scoles (Announc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4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32049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959212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Paul)</a:t>
            </a:r>
          </a:p>
          <a:p>
            <a:r>
              <a:rPr lang="en-US" dirty="0"/>
              <a:t>Karin to provide summary of 2024 meeting min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on: be it resolved that the agenda for the Annual Meeting of members be adopt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on: Be it resolved that the minutes of the Annual Meeting of Members of November 13, 2024, be approved as presented.</a:t>
            </a:r>
            <a:endParaRPr lang="en-C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19896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DAN)</a:t>
            </a:r>
          </a:p>
          <a:p>
            <a:endParaRPr lang="en-US" dirty="0"/>
          </a:p>
          <a:p>
            <a:r>
              <a:rPr lang="en-US" dirty="0"/>
              <a:t>Note: copy of audited financial shared within supporting docu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20745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DAN)</a:t>
            </a:r>
          </a:p>
          <a:p>
            <a:r>
              <a:rPr lang="en-US" dirty="0"/>
              <a:t>Confirm the audit was completed independently and in accordance with required standards.</a:t>
            </a:r>
          </a:p>
          <a:p>
            <a:r>
              <a:rPr lang="en-US" dirty="0"/>
              <a:t>State the audit outcome clearly (e.g., “clean/unqualified opinion”).</a:t>
            </a:r>
            <a:endParaRPr lang="en-US" dirty="0">
              <a:ea typeface="Calibri"/>
              <a:cs typeface="Calibri"/>
            </a:endParaRPr>
          </a:p>
          <a:p>
            <a:r>
              <a:rPr lang="en-US" dirty="0"/>
              <a:t>Appreciation to staff for timely and accurate support.</a:t>
            </a:r>
            <a:endParaRPr lang="en-US" dirty="0">
              <a:ea typeface="Calibri"/>
              <a:cs typeface="Calibri"/>
            </a:endParaRPr>
          </a:p>
          <a:p>
            <a:r>
              <a:rPr lang="en-US" dirty="0"/>
              <a:t>Reinforce that audits protect the association and build member trust.</a:t>
            </a:r>
            <a:br>
              <a:rPr lang="en-US" dirty="0">
                <a:ea typeface="Calibri"/>
                <a:cs typeface="+mn-lt"/>
              </a:rPr>
            </a:br>
            <a:br>
              <a:rPr lang="en-US" dirty="0">
                <a:cs typeface="+mn-lt"/>
              </a:rPr>
            </a:br>
            <a:r>
              <a:rPr lang="en-US" dirty="0"/>
              <a:t>Revenue:</a:t>
            </a:r>
            <a:br>
              <a:rPr lang="en-US" dirty="0">
                <a:cs typeface="+mn-lt"/>
              </a:rPr>
            </a:br>
            <a:r>
              <a:rPr lang="en-US" dirty="0">
                <a:ea typeface="Calibri"/>
                <a:cs typeface="Calibri"/>
              </a:rPr>
              <a:t>- Grants and Sport Program Funding: </a:t>
            </a:r>
            <a:r>
              <a:rPr lang="en-US" dirty="0"/>
              <a:t>$40K increase primarily due to</a:t>
            </a:r>
            <a:r>
              <a:rPr lang="en-US" dirty="0">
                <a:ea typeface="Calibri"/>
                <a:cs typeface="Calibri"/>
              </a:rPr>
              <a:t> High Performance Coach, Games Enrichment, and MB L&amp;L (in and out), 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Calibri"/>
              </a:rPr>
              <a:t>- Other Grants: Community Sport for All Grant for Youth Development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Calibri"/>
              </a:rPr>
              <a:t>- Participant Fees: No material change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Calibri"/>
              </a:rPr>
              <a:t>- Membership Fees: Double in Day Permit Revenue ($2.5K -&gt; $5K), $5K increase in Member Reg – combination of more race memberships sold and price increase.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- Misc: Awards Banquet, and Interest Income, TDRM</a:t>
            </a:r>
            <a:br>
              <a:rPr lang="en-US" dirty="0">
                <a:ea typeface="Calibri"/>
                <a:cs typeface="+mn-lt"/>
              </a:rPr>
            </a:b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Expenses: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- Salaries and Benefits: 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- Program Expenses: Canada Games year, race hosting, Coach and coach supplies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- Insurance: Slight decrease in Insurance due to less members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- Membership Fees: 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- Travel: Canada Games</a:t>
            </a:r>
            <a:br>
              <a:rPr lang="en-US" dirty="0">
                <a:ea typeface="Calibri"/>
                <a:cs typeface="+mn-lt"/>
              </a:rPr>
            </a:br>
            <a:r>
              <a:rPr lang="en-US" dirty="0">
                <a:ea typeface="Calibri"/>
                <a:cs typeface="+mn-lt"/>
              </a:rPr>
              <a:t>- Misc Expenses related to office, travel, meetings, etc.</a:t>
            </a:r>
            <a:endParaRPr lang="en-US" dirty="0"/>
          </a:p>
          <a:p>
            <a:endParaRPr lang="en-US" dirty="0">
              <a:ea typeface="Calibri"/>
              <a:cs typeface="+mn-lt"/>
            </a:endParaRPr>
          </a:p>
          <a:p>
            <a:r>
              <a:rPr lang="en-US" dirty="0">
                <a:ea typeface="Calibri"/>
                <a:cs typeface="+mn-lt"/>
              </a:rPr>
              <a:t>$9K deficit vs, $50K deficit in previous year, $26K planned deficit</a:t>
            </a:r>
            <a:br>
              <a:rPr lang="en-US" dirty="0">
                <a:ea typeface="Calibri"/>
                <a:cs typeface="+mn-lt"/>
              </a:rPr>
            </a:br>
            <a:br>
              <a:rPr lang="en-US" dirty="0">
                <a:ea typeface="Calibri"/>
                <a:cs typeface="+mn-lt"/>
              </a:rPr>
            </a:br>
            <a:endParaRPr lang="en-US" dirty="0">
              <a:ea typeface="Calibri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62120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DA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112504-6EE5-4F9A-BB81-4540BEA69F23}" type="slidenum">
              <a:rPr lang="en-CA" smtClean="0"/>
              <a:t>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61911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2888" y="703327"/>
            <a:ext cx="11122146" cy="408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32AFF43-D300-4975-95A9-5B6C3D187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744" y="1867408"/>
            <a:ext cx="11125200" cy="3959669"/>
          </a:xfrm>
        </p:spPr>
        <p:txBody>
          <a:bodyPr numCol="2" spcCol="9144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63AE8B85-53AB-4431-83FD-CFDA88ECDA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33744" y="6091785"/>
            <a:ext cx="11125200" cy="1384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01858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9954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8C166-BB50-FDFE-2806-49EB92263A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BD3BCF-9BE2-1614-0181-8986E4C2C5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2183E5-7B08-1649-99C4-5DFFF4469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DD9ED-9786-2782-01E5-B8F6E8EB8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A20EA9-470B-E255-A493-CC846A4C1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25393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DB6C3-1A81-C69B-7000-16F4410D1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7A66BC-2400-FB57-A23F-7D3188C550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29AC7-A32B-7953-7B12-813021859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08583-CBAE-9B56-8ED5-62171096A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0A7D8D-6837-193D-7508-39165EE9C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06254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10486F-F667-AC34-7793-C1384440B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032CA6-90E1-F2C7-909F-1608E8B0BC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6F912E-7878-4B3D-9D4E-1AAE2EB67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AB33AF-79DD-86D0-0B71-C8EE8AC8F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E2E0D7-163B-9B40-DC1A-1F3676A87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355819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425CB-F7BC-9377-C3FE-DCD681811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B308DB-2D93-EB6E-D121-1B5E1DEC9D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9BC88A-A65C-3269-E080-7B8FDE76A3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E188CF-E854-68A2-6712-D1782BB2F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5C9291-730E-EC8A-BD52-51EDD0D0D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DE9287-F2D1-670F-2873-38A8DC34E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7378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A9927-3E14-4BB6-CDA4-7E7E104F1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1951C0-5DC5-4CE7-6B64-DE91963B43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554187-947D-8E4A-36AE-43A1C5A83E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141EC5-BAD3-0D09-C362-65646F793E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1E999B-E3F8-6FAD-0521-69CD413C26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DA4D55-C5F3-E582-A8AA-148DEB01F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C0CA3C6-FFC9-0B0D-35C5-AD59F15F7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F8E4DD2-F32C-649D-6DD4-C02844B56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59634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B52E6-9E82-4296-B5FD-9A53AC6DE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5BC079-A688-08BE-63A4-3829268B3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2FB58D-76D0-F52C-1015-14511B96F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AB91AA-3FF7-FA4A-0DD3-7349FBCCA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74069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D1AF7F-3809-A91B-31AA-9F2D1ACF9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06283B-2F3F-83AB-631C-D12FE0798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7BF1ED-327D-A756-1383-78C7007B8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515756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68913-84D0-6450-11D8-21533ECEF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63DA3A-3188-7DA9-4B39-C1BACA817F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A933FD-FB32-2449-101A-84AC5CA63C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A70A39-1C84-3A8C-8DF4-0F772B733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906F06-EA58-E01B-2F5F-C70B946B0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DD1189-E063-0746-CC6E-AAA6F5204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919891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AE04E-ED9A-F58E-D83F-9CB419C8F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67A062-887A-AEFB-7DAE-9F66791EF53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18D9FC-0100-D8D6-E792-79FD681271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2DC15D-4E5E-0C87-031D-4C7DD7E9E5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DC03B9-EFFD-DA5E-B234-72A9F6618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01A450-E2B4-4316-22E9-062ABA7B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63521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744" y="1868128"/>
            <a:ext cx="5269648" cy="4197709"/>
          </a:xfrm>
        </p:spPr>
        <p:txBody>
          <a:bodyPr vert="horz" lIns="0" tIns="0" rIns="0" bIns="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5904" y="1868128"/>
            <a:ext cx="5269648" cy="4197709"/>
          </a:xfrm>
        </p:spPr>
        <p:txBody>
          <a:bodyPr vert="horz" lIns="0" tIns="0" rIns="0" bIns="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533744" y="6094004"/>
            <a:ext cx="11114320" cy="138499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IN" sz="900" i="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82885" lvl="0" indent="-18288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ource</a:t>
            </a:r>
            <a:endParaRPr lang="en-IN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7D1FB01-2776-45AB-AE6B-B564C437E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88" y="703327"/>
            <a:ext cx="11122146" cy="408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530AFDC9-7C90-4ACE-8598-D254362E13B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13794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C2804-736A-CA27-3101-DCE7ED120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AA8838-1900-9266-6B76-5F0B081DA5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1E82E3-3AD6-CD5E-7CF1-71C271ED7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45295B-9E5A-63E7-A063-4A764AFFB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A03FA0-F11F-D97E-B5D1-AC78767D3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600330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07BB3BC-8024-6E81-31EF-18CCC1C19B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21A05D-DD9A-1014-6A26-5864A0A4EC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F627BD-5D62-EB33-7FF9-AB18FB08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85D9-357E-ADAD-DDE6-EAE93CAFC4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A84328-3D6B-E864-D552-A24FE82F6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48435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448" y="1570038"/>
            <a:ext cx="5266944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anchor="t" anchorCtr="0">
            <a:sp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448" y="1883970"/>
            <a:ext cx="5266944" cy="4023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83825" y="1570038"/>
            <a:ext cx="5266943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anchor="t" anchorCtr="0">
            <a:sp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83825" y="1883970"/>
            <a:ext cx="5266944" cy="4023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536448" y="6094004"/>
            <a:ext cx="11114320" cy="138499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IN" sz="900" i="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82885" lvl="0" indent="-18288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ource</a:t>
            </a:r>
            <a:endParaRPr lang="en-IN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23BC949-C767-4F9B-89D0-B92C34AE4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88" y="703327"/>
            <a:ext cx="11122146" cy="408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CC64DDE1-7315-4EFC-A1AA-D50FD29A42E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6780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231" y="1574950"/>
            <a:ext cx="5276088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anchor="t" anchorCtr="0">
            <a:sp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32" y="1888882"/>
            <a:ext cx="5276088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87571" y="1574950"/>
            <a:ext cx="5276088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anchor="t" anchorCtr="0">
            <a:sp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87571" y="1888882"/>
            <a:ext cx="5271744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541231" y="3938075"/>
            <a:ext cx="5276088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91440" tIns="45720" rIns="91440" bIns="45720" anchor="t" anchorCtr="0">
            <a:sp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541232" y="4259824"/>
            <a:ext cx="5276088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387571" y="3938075"/>
            <a:ext cx="5276088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anchor="t" anchorCtr="0">
            <a:sp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3"/>
          </p:nvPr>
        </p:nvSpPr>
        <p:spPr>
          <a:xfrm>
            <a:off x="6387571" y="4259824"/>
            <a:ext cx="5271744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41232" y="6094004"/>
            <a:ext cx="11118082" cy="138499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IN" sz="900" i="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82885" lvl="0" indent="-18288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ource</a:t>
            </a:r>
            <a:endParaRPr lang="en-IN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2723A77-A4D5-426E-BCF1-AC886C8B85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88" y="703327"/>
            <a:ext cx="11122146" cy="408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610DBFBC-7FFE-41DE-9342-D151238298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1774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231" y="1574952"/>
            <a:ext cx="3513282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743" y="1888884"/>
            <a:ext cx="3513282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42047" y="1574952"/>
            <a:ext cx="3510593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42048" y="1888884"/>
            <a:ext cx="3510593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137485" y="1574952"/>
            <a:ext cx="3513283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8137486" y="1888884"/>
            <a:ext cx="3514339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2"/>
          </p:nvPr>
        </p:nvSpPr>
        <p:spPr>
          <a:xfrm>
            <a:off x="533744" y="3923071"/>
            <a:ext cx="11118082" cy="1868129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33744" y="6094004"/>
            <a:ext cx="11122866" cy="138499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IN" sz="900" i="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82885" lvl="0" indent="-18288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ource</a:t>
            </a:r>
            <a:endParaRPr lang="en-IN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A0C1BF3-762A-485B-83D2-1B7C35BAE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88" y="703327"/>
            <a:ext cx="11122146" cy="408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142E304-EF9F-451C-8D2D-18D1075B78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6447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231" y="1574950"/>
            <a:ext cx="3521831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32" y="1888882"/>
            <a:ext cx="3513282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39359" y="1574950"/>
            <a:ext cx="3513282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39358" y="1888882"/>
            <a:ext cx="3513281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137482" y="1574950"/>
            <a:ext cx="3513281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8137483" y="1888882"/>
            <a:ext cx="3513280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41232" y="6094004"/>
            <a:ext cx="11118082" cy="138499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IN" sz="900" i="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82885" lvl="0" indent="-18288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ource</a:t>
            </a:r>
            <a:endParaRPr lang="en-IN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6"/>
          </p:nvPr>
        </p:nvSpPr>
        <p:spPr>
          <a:xfrm>
            <a:off x="541232" y="3931656"/>
            <a:ext cx="3521830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541232" y="4245588"/>
            <a:ext cx="3513282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339359" y="3931656"/>
            <a:ext cx="3521830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9"/>
          </p:nvPr>
        </p:nvSpPr>
        <p:spPr>
          <a:xfrm>
            <a:off x="4339359" y="4245588"/>
            <a:ext cx="3513282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8137482" y="3931656"/>
            <a:ext cx="3521831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21"/>
          </p:nvPr>
        </p:nvSpPr>
        <p:spPr>
          <a:xfrm>
            <a:off x="8137482" y="4245588"/>
            <a:ext cx="3521831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770DC53-73F6-4254-9A30-CD1CDAD1D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88" y="703327"/>
            <a:ext cx="11122146" cy="408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A4898C86-B699-4410-A732-6EB9584ED9C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17209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232" y="1574950"/>
            <a:ext cx="2683987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32" y="1888881"/>
            <a:ext cx="2683987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355445" y="1574950"/>
            <a:ext cx="2675441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352800" y="1888881"/>
            <a:ext cx="2675441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67013" y="1574950"/>
            <a:ext cx="2678087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6167013" y="1888882"/>
            <a:ext cx="2678087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33744" y="6094004"/>
            <a:ext cx="11118082" cy="138499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IN" sz="900" i="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82885" lvl="0" indent="-18288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ource</a:t>
            </a:r>
            <a:endParaRPr lang="en-IN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A9362F5-0F81-487D-BFF4-6CF2956BCD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888" y="1574950"/>
            <a:ext cx="2678087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30" name="Content Placeholder 5">
            <a:extLst>
              <a:ext uri="{FF2B5EF4-FFF2-40B4-BE49-F238E27FC236}">
                <a16:creationId xmlns:a16="http://schemas.microsoft.com/office/drawing/2014/main" id="{E0D4605D-A850-44D3-927B-102F666F35A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976888" y="1888881"/>
            <a:ext cx="2678087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5C04635-53ED-4E86-9AA7-92307A93AA7F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41232" y="3932715"/>
            <a:ext cx="2683987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40" name="Content Placeholder 3">
            <a:extLst>
              <a:ext uri="{FF2B5EF4-FFF2-40B4-BE49-F238E27FC236}">
                <a16:creationId xmlns:a16="http://schemas.microsoft.com/office/drawing/2014/main" id="{613835A7-E400-4D1E-8105-FADE970708D8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541232" y="4246646"/>
            <a:ext cx="2683987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9F852DDF-123F-4B3D-B017-010DEF8311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55445" y="3932715"/>
            <a:ext cx="2675441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42" name="Content Placeholder 5">
            <a:extLst>
              <a:ext uri="{FF2B5EF4-FFF2-40B4-BE49-F238E27FC236}">
                <a16:creationId xmlns:a16="http://schemas.microsoft.com/office/drawing/2014/main" id="{6BB1D8FD-2686-455F-A0E5-628E5EA3310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355445" y="4246646"/>
            <a:ext cx="2675441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BF7720B6-566B-4E3F-BE90-D546531F263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67013" y="3932715"/>
            <a:ext cx="2678087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86E31070-E4F8-4CF9-B95C-2ED3C668E807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167013" y="4246646"/>
            <a:ext cx="2678087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07920E4C-D746-442A-BFDC-430BC15BC4C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976888" y="3932715"/>
            <a:ext cx="2678087" cy="299184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46" name="Content Placeholder 5">
            <a:extLst>
              <a:ext uri="{FF2B5EF4-FFF2-40B4-BE49-F238E27FC236}">
                <a16:creationId xmlns:a16="http://schemas.microsoft.com/office/drawing/2014/main" id="{2572BB08-D068-4D5A-95FC-3EAE842A24D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8976888" y="4246646"/>
            <a:ext cx="2678087" cy="1737360"/>
          </a:xfrm>
        </p:spPr>
        <p:txBody>
          <a:bodyPr vert="horz" lIns="91440" tIns="45720" rIns="91440" bIns="45720" rtlCol="0">
            <a:noAutofit/>
          </a:bodyPr>
          <a:lstStyle>
            <a:lvl1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FD515D0-5C2E-4FAB-9BE7-A79C3D5C4E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88" y="703327"/>
            <a:ext cx="11122146" cy="408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DB650156-0099-4606-AE08-D604D8540919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7222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ot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A1E4D6A0-7C78-4ABE-B5E7-E50FF6BC655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32888" y="1171823"/>
            <a:ext cx="11122146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b="1" dirty="0">
                <a:solidFill>
                  <a:schemeClr val="accent3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B2DCE1-849F-540A-21EC-60B834414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483921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1367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F56EB8-5283-F452-A870-527776C539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639618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F56EB8-5283-F452-A870-527776C53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2888" y="700582"/>
            <a:ext cx="11122146" cy="408125"/>
          </a:xfrm>
          <a:prstGeom prst="rect">
            <a:avLst/>
          </a:prstGeom>
        </p:spPr>
        <p:txBody>
          <a:bodyPr vert="horz" wrap="square" lIns="0" tIns="0" rIns="0" bIns="45720" rtlCol="0" anchor="b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2888" y="1869578"/>
            <a:ext cx="11122535" cy="41959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/>
          <p:cNvSpPr txBox="1">
            <a:spLocks noChangeAspect="1"/>
          </p:cNvSpPr>
          <p:nvPr userDrawn="1"/>
        </p:nvSpPr>
        <p:spPr>
          <a:xfrm>
            <a:off x="11392116" y="6389916"/>
            <a:ext cx="365757" cy="365760"/>
          </a:xfrm>
          <a:prstGeom prst="ellipse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just"/>
            <a:fld id="{92504F4E-625A-4F19-BE8E-D241F6DF201E}" type="slidenum">
              <a:rPr lang="en-US" sz="80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just"/>
              <a:t>‹#›</a:t>
            </a:fld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854759" y="6511241"/>
            <a:ext cx="3494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r" defTabSz="914423" rtl="0" eaLnBrk="1" latinLnBrk="0" hangingPunct="1">
              <a:lnSpc>
                <a:spcPct val="100000"/>
              </a:lnSpc>
            </a:pPr>
            <a:r>
              <a:rPr lang="en-US" sz="800" b="0" i="0" kern="1200" cap="all" spc="20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25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1109A9C-537D-4B10-A53F-D1DA33C64A37}"/>
              </a:ext>
            </a:extLst>
          </p:cNvPr>
          <p:cNvCxnSpPr/>
          <p:nvPr userDrawn="1"/>
        </p:nvCxnSpPr>
        <p:spPr>
          <a:xfrm>
            <a:off x="11323320" y="6478727"/>
            <a:ext cx="0" cy="18813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Manitoba Cycling Association">
            <a:extLst>
              <a:ext uri="{FF2B5EF4-FFF2-40B4-BE49-F238E27FC236}">
                <a16:creationId xmlns:a16="http://schemas.microsoft.com/office/drawing/2014/main" id="{B7962761-88D8-E1EF-F7D2-F809417106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888" y="6328034"/>
            <a:ext cx="1017814" cy="36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798D7D6-01DF-D3E6-0C72-DC205D2061E9}"/>
              </a:ext>
            </a:extLst>
          </p:cNvPr>
          <p:cNvSpPr/>
          <p:nvPr userDrawn="1"/>
        </p:nvSpPr>
        <p:spPr>
          <a:xfrm>
            <a:off x="-6000" y="6766559"/>
            <a:ext cx="12204000" cy="188139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275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5" r:id="rId10"/>
  </p:sldLayoutIdLst>
  <p:hf hdr="0" dt="0"/>
  <p:txStyles>
    <p:titleStyle>
      <a:lvl1pPr algn="l" defTabSz="914423" rtl="0" eaLnBrk="1" latinLnBrk="0" hangingPunct="1">
        <a:lnSpc>
          <a:spcPct val="120000"/>
        </a:lnSpc>
        <a:spcBef>
          <a:spcPct val="0"/>
        </a:spcBef>
        <a:buNone/>
        <a:defRPr lang="en-US" sz="2100" b="1" kern="1200" dirty="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885" indent="-182885" algn="l" defTabSz="914423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Wingdings" pitchFamily="2" charset="2"/>
        <a:buChar char="§"/>
        <a:defRPr sz="1200" kern="1200">
          <a:solidFill>
            <a:srgbClr val="26262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5769" indent="-182885" algn="l" defTabSz="914423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200" kern="1200">
          <a:solidFill>
            <a:srgbClr val="26262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8654" indent="-182885" algn="l" defTabSz="914423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80000"/>
        <a:buFont typeface="Courier New" pitchFamily="49" charset="0"/>
        <a:buChar char="o"/>
        <a:defRPr sz="1200" kern="1200">
          <a:solidFill>
            <a:srgbClr val="26262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31538" indent="-182885" algn="l" defTabSz="914423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itchFamily="34" charset="0"/>
        <a:buChar char="–"/>
        <a:defRPr sz="1200" kern="1200">
          <a:solidFill>
            <a:srgbClr val="26262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4423" indent="-182885" algn="l" defTabSz="914423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itchFamily="34" charset="0"/>
        <a:buChar char="»"/>
        <a:defRPr sz="1200" kern="1200">
          <a:solidFill>
            <a:srgbClr val="26262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09043A-D89A-411B-08D3-C4E10EB4F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BB668-BC00-1A4A-82C5-0453E36EDA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82C094-7805-783C-0AB5-61AD780CD8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5AEFDE2-847C-4DD0-B608-0BBD602B1CDC}" type="datetimeFigureOut">
              <a:rPr lang="en-CA" smtClean="0"/>
              <a:t>2025-11-19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6451F7-0FE9-3440-D71C-22062E2157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9111A9-8320-1C17-5FEE-2F21527CA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60D962E-B330-4233-B0FB-1F75142D35B7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76173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5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40.png"/><Relationship Id="rId18" Type="http://schemas.openxmlformats.org/officeDocument/2006/relationships/image" Target="../media/image4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17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3.svg"/><Relationship Id="rId20" Type="http://schemas.openxmlformats.org/officeDocument/2006/relationships/image" Target="../media/image47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svg"/><Relationship Id="rId19" Type="http://schemas.openxmlformats.org/officeDocument/2006/relationships/image" Target="../media/image46.png"/><Relationship Id="rId4" Type="http://schemas.openxmlformats.org/officeDocument/2006/relationships/image" Target="../media/image31.svg"/><Relationship Id="rId9" Type="http://schemas.openxmlformats.org/officeDocument/2006/relationships/image" Target="../media/image36.png"/><Relationship Id="rId14" Type="http://schemas.openxmlformats.org/officeDocument/2006/relationships/image" Target="../media/image4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image" Target="../media/image4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Relationship Id="rId9" Type="http://schemas.openxmlformats.org/officeDocument/2006/relationships/image" Target="../media/image11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jp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jpg"/><Relationship Id="rId5" Type="http://schemas.openxmlformats.org/officeDocument/2006/relationships/image" Target="../media/image54.jpg"/><Relationship Id="rId4" Type="http://schemas.openxmlformats.org/officeDocument/2006/relationships/image" Target="../media/image5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2.xml"/><Relationship Id="rId5" Type="http://schemas.openxmlformats.org/officeDocument/2006/relationships/image" Target="../media/image57.jpg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jpg"/><Relationship Id="rId5" Type="http://schemas.openxmlformats.org/officeDocument/2006/relationships/image" Target="../media/image60.jpg"/><Relationship Id="rId4" Type="http://schemas.openxmlformats.org/officeDocument/2006/relationships/image" Target="../media/image59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mbcycling.ca/event-archive/" TargetMode="External"/><Relationship Id="rId7" Type="http://schemas.openxmlformats.org/officeDocument/2006/relationships/image" Target="../media/image64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3.xml"/><Relationship Id="rId5" Type="http://schemas.openxmlformats.org/officeDocument/2006/relationships/image" Target="../media/image63.jpg"/><Relationship Id="rId4" Type="http://schemas.openxmlformats.org/officeDocument/2006/relationships/image" Target="../media/image62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57.jpg"/><Relationship Id="rId4" Type="http://schemas.openxmlformats.org/officeDocument/2006/relationships/image" Target="../media/image66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8.jp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microsoft.com/office/2011/relationships/webextension" Target="../webextensions/webextension1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9.png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11/relationships/webextension" Target="../webextensions/webextension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6" Type="http://schemas.microsoft.com/office/2011/relationships/webextension" Target="../webextensions/webextension4.xml"/><Relationship Id="rId5" Type="http://schemas.microsoft.com/office/2011/relationships/webextension" Target="../webextensions/webextension3.xml"/><Relationship Id="rId4" Type="http://schemas.openxmlformats.org/officeDocument/2006/relationships/image" Target="../media/image6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15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2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1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87FC4C3-E3A2-0BB8-A86A-2BC87D88AC6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2">
                  <a:lumMod val="0"/>
                  <a:lumOff val="100000"/>
                  <a:alpha val="0"/>
                </a:schemeClr>
              </a:gs>
              <a:gs pos="86000">
                <a:schemeClr val="accent2">
                  <a:lumMod val="0"/>
                  <a:lumOff val="100000"/>
                  <a:alpha val="19000"/>
                </a:schemeClr>
              </a:gs>
              <a:gs pos="42000">
                <a:srgbClr val="FBC40B"/>
              </a:gs>
            </a:gsLst>
            <a:lin ang="10800000" scaled="1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7D3767D-D065-550A-448E-44586EB489AE}"/>
              </a:ext>
            </a:extLst>
          </p:cNvPr>
          <p:cNvSpPr txBox="1">
            <a:spLocks/>
          </p:cNvSpPr>
          <p:nvPr/>
        </p:nvSpPr>
        <p:spPr>
          <a:xfrm>
            <a:off x="567989" y="625473"/>
            <a:ext cx="7135963" cy="1642941"/>
          </a:xfrm>
          <a:prstGeom prst="rect">
            <a:avLst/>
          </a:prstGeom>
        </p:spPr>
        <p:txBody>
          <a:bodyPr/>
          <a:lstStyle>
            <a:lvl1pPr algn="l" defTabSz="91442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en-US" sz="21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CA" sz="4400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en-CA" sz="440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nitoba Cycling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64180C9-1B0D-2891-492D-5D9FA90C1C9D}"/>
              </a:ext>
            </a:extLst>
          </p:cNvPr>
          <p:cNvSpPr txBox="1">
            <a:spLocks/>
          </p:cNvSpPr>
          <p:nvPr/>
        </p:nvSpPr>
        <p:spPr>
          <a:xfrm>
            <a:off x="567988" y="2716324"/>
            <a:ext cx="7135963" cy="957061"/>
          </a:xfrm>
          <a:prstGeom prst="rect">
            <a:avLst/>
          </a:prstGeom>
        </p:spPr>
        <p:txBody>
          <a:bodyPr/>
          <a:lstStyle>
            <a:lvl1pPr algn="l" defTabSz="91442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en-US" sz="21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CA" sz="3200" b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nual General Meeting</a:t>
            </a:r>
            <a:endParaRPr lang="en-CA" sz="4400" b="0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en-CA" sz="1100" b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ort for Life Centre</a:t>
            </a:r>
          </a:p>
          <a:p>
            <a:r>
              <a:rPr lang="en-CA" sz="1100" b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ference Room A</a:t>
            </a:r>
          </a:p>
          <a:p>
            <a:r>
              <a:rPr lang="en-CA" sz="1100" b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ovember 19, 2025 @ 7pm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716878C-FB35-4A52-A562-49D11CF59F64}"/>
              </a:ext>
            </a:extLst>
          </p:cNvPr>
          <p:cNvCxnSpPr>
            <a:cxnSpLocks/>
          </p:cNvCxnSpPr>
          <p:nvPr/>
        </p:nvCxnSpPr>
        <p:spPr>
          <a:xfrm>
            <a:off x="567989" y="2501166"/>
            <a:ext cx="4626581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E954CB78-FDE9-D7A5-DDD0-5476CAAA4F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988" y="5608659"/>
            <a:ext cx="2205317" cy="781050"/>
          </a:xfrm>
          <a:prstGeom prst="rect">
            <a:avLst/>
          </a:prstGeom>
        </p:spPr>
      </p:pic>
      <p:pic>
        <p:nvPicPr>
          <p:cNvPr id="6" name="Picture 5" descr="A group of people riding bikes&#10;&#10;AI-generated content may be incorrect.">
            <a:extLst>
              <a:ext uri="{FF2B5EF4-FFF2-40B4-BE49-F238E27FC236}">
                <a16:creationId xmlns:a16="http://schemas.microsoft.com/office/drawing/2014/main" id="{1364F68E-1529-4427-0602-480BA22795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4417" y="972766"/>
            <a:ext cx="5709593" cy="4883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128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STATEMENT OF CASH FLOWS</a:t>
            </a:r>
          </a:p>
        </p:txBody>
      </p:sp>
      <p:pic>
        <p:nvPicPr>
          <p:cNvPr id="5" name="Picture 4" descr="A close-up of a document&#10;&#10;AI-generated content may be incorrect.">
            <a:extLst>
              <a:ext uri="{FF2B5EF4-FFF2-40B4-BE49-F238E27FC236}">
                <a16:creationId xmlns:a16="http://schemas.microsoft.com/office/drawing/2014/main" id="{81664591-EEA6-485D-97B1-62D0AC9235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0" b="24766"/>
          <a:stretch>
            <a:fillRect/>
          </a:stretch>
        </p:blipFill>
        <p:spPr>
          <a:xfrm>
            <a:off x="1100994" y="1203166"/>
            <a:ext cx="4507326" cy="4451667"/>
          </a:xfrm>
          <a:prstGeom prst="rect">
            <a:avLst/>
          </a:prstGeom>
        </p:spPr>
      </p:pic>
      <p:pic>
        <p:nvPicPr>
          <p:cNvPr id="3" name="Picture 2" descr="A group of people in orange vests standing in a circle&#10;&#10;AI-generated content may be incorrect.">
            <a:extLst>
              <a:ext uri="{FF2B5EF4-FFF2-40B4-BE49-F238E27FC236}">
                <a16:creationId xmlns:a16="http://schemas.microsoft.com/office/drawing/2014/main" id="{3935F4E3-489F-A736-8CC9-0880E59018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206" y="1411117"/>
            <a:ext cx="4876800" cy="4243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632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8290BF-6A00-F5F1-11C7-85C782602337}"/>
              </a:ext>
            </a:extLst>
          </p:cNvPr>
          <p:cNvSpPr/>
          <p:nvPr/>
        </p:nvSpPr>
        <p:spPr>
          <a:xfrm>
            <a:off x="1773111" y="1399591"/>
            <a:ext cx="3235873" cy="441804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on #3</a:t>
            </a:r>
          </a:p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 Audited Financial Stateme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ED76804-BB58-A437-0F6A-33D79F1A32E8}"/>
              </a:ext>
            </a:extLst>
          </p:cNvPr>
          <p:cNvSpPr/>
          <p:nvPr/>
        </p:nvSpPr>
        <p:spPr>
          <a:xfrm>
            <a:off x="7183016" y="1399591"/>
            <a:ext cx="3235874" cy="441804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on #4</a:t>
            </a:r>
          </a:p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 Auditor Scarrow &amp; Donald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B6DD14A-DA48-D2AF-77AF-0E5D273B1DEA}"/>
              </a:ext>
            </a:extLst>
          </p:cNvPr>
          <p:cNvSpPr/>
          <p:nvPr/>
        </p:nvSpPr>
        <p:spPr>
          <a:xfrm>
            <a:off x="2523299" y="591671"/>
            <a:ext cx="1735493" cy="1735493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36F2AC8-5902-CAFE-2201-48F272E2102F}"/>
              </a:ext>
            </a:extLst>
          </p:cNvPr>
          <p:cNvSpPr/>
          <p:nvPr/>
        </p:nvSpPr>
        <p:spPr>
          <a:xfrm>
            <a:off x="7933210" y="591670"/>
            <a:ext cx="1735493" cy="1735493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DBF7C59-10CF-B6B0-1907-6F7D9F8134C2}"/>
              </a:ext>
            </a:extLst>
          </p:cNvPr>
          <p:cNvSpPr/>
          <p:nvPr/>
        </p:nvSpPr>
        <p:spPr>
          <a:xfrm>
            <a:off x="2753553" y="821925"/>
            <a:ext cx="1274985" cy="1274985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0807A02-C009-073B-8FC0-2E212FDBD991}"/>
              </a:ext>
            </a:extLst>
          </p:cNvPr>
          <p:cNvSpPr/>
          <p:nvPr/>
        </p:nvSpPr>
        <p:spPr>
          <a:xfrm>
            <a:off x="8163462" y="821925"/>
            <a:ext cx="1274985" cy="1274985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3" name="Graphic 12" descr="Handshake with solid fill">
            <a:extLst>
              <a:ext uri="{FF2B5EF4-FFF2-40B4-BE49-F238E27FC236}">
                <a16:creationId xmlns:a16="http://schemas.microsoft.com/office/drawing/2014/main" id="{CB5E95CD-BB30-F837-54D1-594E770D9F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36646" y="1093865"/>
            <a:ext cx="728619" cy="728619"/>
          </a:xfrm>
          <a:prstGeom prst="rect">
            <a:avLst/>
          </a:prstGeom>
        </p:spPr>
      </p:pic>
      <p:pic>
        <p:nvPicPr>
          <p:cNvPr id="15" name="Graphic 14" descr="Document with solid fill">
            <a:extLst>
              <a:ext uri="{FF2B5EF4-FFF2-40B4-BE49-F238E27FC236}">
                <a16:creationId xmlns:a16="http://schemas.microsoft.com/office/drawing/2014/main" id="{0F9D292C-D2DB-4609-862D-4553E65568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26735" y="1095106"/>
            <a:ext cx="728619" cy="728619"/>
          </a:xfrm>
          <a:prstGeom prst="rect">
            <a:avLst/>
          </a:prstGeom>
        </p:spPr>
      </p:pic>
      <p:pic>
        <p:nvPicPr>
          <p:cNvPr id="17" name="Graphic 16" descr="Checkmark with solid fill">
            <a:extLst>
              <a:ext uri="{FF2B5EF4-FFF2-40B4-BE49-F238E27FC236}">
                <a16:creationId xmlns:a16="http://schemas.microsoft.com/office/drawing/2014/main" id="{A4C77246-143D-B1D4-98C6-A12BE7BA4C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33844" y="4569667"/>
            <a:ext cx="914400" cy="914400"/>
          </a:xfrm>
          <a:prstGeom prst="rect">
            <a:avLst/>
          </a:prstGeom>
        </p:spPr>
      </p:pic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3779448C-D4E9-2D1A-65DB-333CD100EE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43756" y="456966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901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FINANCE ROADMAP</a:t>
            </a:r>
            <a:endParaRPr lang="en-US" sz="4400" dirty="0">
              <a:highlight>
                <a:srgbClr val="FFFF00"/>
              </a:highlight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1A53D48-6027-B98A-1DA3-9434FC190256}"/>
              </a:ext>
            </a:extLst>
          </p:cNvPr>
          <p:cNvGrpSpPr/>
          <p:nvPr/>
        </p:nvGrpSpPr>
        <p:grpSpPr>
          <a:xfrm>
            <a:off x="537060" y="1724729"/>
            <a:ext cx="6058293" cy="2925091"/>
            <a:chOff x="536488" y="2134631"/>
            <a:chExt cx="6144838" cy="2190974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76B23E85-9230-4181-2A8C-800506CF7FAF}"/>
                </a:ext>
              </a:extLst>
            </p:cNvPr>
            <p:cNvCxnSpPr/>
            <p:nvPr/>
          </p:nvCxnSpPr>
          <p:spPr>
            <a:xfrm>
              <a:off x="560444" y="3502372"/>
              <a:ext cx="6120882" cy="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A3AD7AE3-5C96-8D25-61BF-D8E3D8F1BEB2}"/>
                </a:ext>
              </a:extLst>
            </p:cNvPr>
            <p:cNvSpPr/>
            <p:nvPr/>
          </p:nvSpPr>
          <p:spPr>
            <a:xfrm>
              <a:off x="2706845" y="3395068"/>
              <a:ext cx="214605" cy="214605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" name="Off-page Connector 12">
              <a:extLst>
                <a:ext uri="{FF2B5EF4-FFF2-40B4-BE49-F238E27FC236}">
                  <a16:creationId xmlns:a16="http://schemas.microsoft.com/office/drawing/2014/main" id="{B25E19A4-E399-1C28-DA03-D1B4CA02BF48}"/>
                </a:ext>
              </a:extLst>
            </p:cNvPr>
            <p:cNvSpPr/>
            <p:nvPr/>
          </p:nvSpPr>
          <p:spPr>
            <a:xfrm>
              <a:off x="2468914" y="2466674"/>
              <a:ext cx="690466" cy="690466"/>
            </a:xfrm>
            <a:prstGeom prst="flowChartOffpageConnector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6D6332B-B513-C552-F9FD-24608A0D5C40}"/>
                </a:ext>
              </a:extLst>
            </p:cNvPr>
            <p:cNvSpPr txBox="1"/>
            <p:nvPr/>
          </p:nvSpPr>
          <p:spPr>
            <a:xfrm>
              <a:off x="2094755" y="2138391"/>
              <a:ext cx="144000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January - March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A5792F0-861A-6BFD-020D-62231D3021AF}"/>
                </a:ext>
              </a:extLst>
            </p:cNvPr>
            <p:cNvSpPr txBox="1"/>
            <p:nvPr/>
          </p:nvSpPr>
          <p:spPr>
            <a:xfrm>
              <a:off x="2332327" y="3847601"/>
              <a:ext cx="968456" cy="3452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l Budget</a:t>
              </a:r>
            </a:p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Audit Prep (Mar)</a:t>
              </a:r>
            </a:p>
          </p:txBody>
        </p:sp>
        <p:sp>
          <p:nvSpPr>
            <p:cNvPr id="5" name="Off-page Connector 4">
              <a:extLst>
                <a:ext uri="{FF2B5EF4-FFF2-40B4-BE49-F238E27FC236}">
                  <a16:creationId xmlns:a16="http://schemas.microsoft.com/office/drawing/2014/main" id="{815FB4A7-B774-3C59-8C8A-F647E853FCBE}"/>
                </a:ext>
              </a:extLst>
            </p:cNvPr>
            <p:cNvSpPr/>
            <p:nvPr/>
          </p:nvSpPr>
          <p:spPr>
            <a:xfrm>
              <a:off x="910342" y="2466674"/>
              <a:ext cx="690466" cy="690466"/>
            </a:xfrm>
            <a:prstGeom prst="flowChartOffpageConnector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3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38FC8E4F-E102-0044-C347-47203FA9F281}"/>
                </a:ext>
              </a:extLst>
            </p:cNvPr>
            <p:cNvSpPr/>
            <p:nvPr/>
          </p:nvSpPr>
          <p:spPr>
            <a:xfrm>
              <a:off x="1148273" y="3395068"/>
              <a:ext cx="214605" cy="214605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561EC23-E946-29A7-1F31-75CEA9F59596}"/>
                </a:ext>
              </a:extLst>
            </p:cNvPr>
            <p:cNvSpPr txBox="1"/>
            <p:nvPr/>
          </p:nvSpPr>
          <p:spPr>
            <a:xfrm>
              <a:off x="536488" y="2134631"/>
              <a:ext cx="144000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October - December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AF4472-9D71-0159-E542-335F68D68A7A}"/>
                </a:ext>
              </a:extLst>
            </p:cNvPr>
            <p:cNvSpPr txBox="1"/>
            <p:nvPr/>
          </p:nvSpPr>
          <p:spPr>
            <a:xfrm>
              <a:off x="688163" y="3847601"/>
              <a:ext cx="1133047" cy="3452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AGM (Nov)</a:t>
              </a:r>
            </a:p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Draft Budgets (Dec)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98BBA3E-DB9F-0CA6-3AC0-F7E9DA725E44}"/>
                </a:ext>
              </a:extLst>
            </p:cNvPr>
            <p:cNvSpPr/>
            <p:nvPr/>
          </p:nvSpPr>
          <p:spPr>
            <a:xfrm>
              <a:off x="4265417" y="3395068"/>
              <a:ext cx="214605" cy="214605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4" name="Off-page Connector 13">
              <a:extLst>
                <a:ext uri="{FF2B5EF4-FFF2-40B4-BE49-F238E27FC236}">
                  <a16:creationId xmlns:a16="http://schemas.microsoft.com/office/drawing/2014/main" id="{5613D411-9719-2764-37E2-96636A88AC81}"/>
                </a:ext>
              </a:extLst>
            </p:cNvPr>
            <p:cNvSpPr/>
            <p:nvPr/>
          </p:nvSpPr>
          <p:spPr>
            <a:xfrm>
              <a:off x="4029589" y="2466674"/>
              <a:ext cx="690466" cy="690466"/>
            </a:xfrm>
            <a:prstGeom prst="flowChartOffpageConnector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1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FB04E66-9678-E5B1-BCE2-B8825EE74289}"/>
                </a:ext>
              </a:extLst>
            </p:cNvPr>
            <p:cNvSpPr txBox="1"/>
            <p:nvPr/>
          </p:nvSpPr>
          <p:spPr>
            <a:xfrm>
              <a:off x="3653022" y="2134631"/>
              <a:ext cx="144000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April - Jun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89A81E7-FE0D-4632-D325-2DD1837DEFD5}"/>
                </a:ext>
              </a:extLst>
            </p:cNvPr>
            <p:cNvSpPr txBox="1"/>
            <p:nvPr/>
          </p:nvSpPr>
          <p:spPr>
            <a:xfrm>
              <a:off x="3947302" y="3847601"/>
              <a:ext cx="855040" cy="3452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FY2026 Audit </a:t>
              </a:r>
            </a:p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(Apr – July)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82B325F-219B-3877-5B94-34F95351E068}"/>
                </a:ext>
              </a:extLst>
            </p:cNvPr>
            <p:cNvSpPr/>
            <p:nvPr/>
          </p:nvSpPr>
          <p:spPr>
            <a:xfrm>
              <a:off x="5823986" y="3395068"/>
              <a:ext cx="214605" cy="214605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Off-page Connector 14">
              <a:extLst>
                <a:ext uri="{FF2B5EF4-FFF2-40B4-BE49-F238E27FC236}">
                  <a16:creationId xmlns:a16="http://schemas.microsoft.com/office/drawing/2014/main" id="{8E64D414-62FF-DF43-EC66-CB282C174CDA}"/>
                </a:ext>
              </a:extLst>
            </p:cNvPr>
            <p:cNvSpPr/>
            <p:nvPr/>
          </p:nvSpPr>
          <p:spPr>
            <a:xfrm>
              <a:off x="5586055" y="2466674"/>
              <a:ext cx="690466" cy="690466"/>
            </a:xfrm>
            <a:prstGeom prst="flowChartOffpageConnector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2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A2CB769-CD2A-5906-2632-A143F2335CDC}"/>
                </a:ext>
              </a:extLst>
            </p:cNvPr>
            <p:cNvSpPr txBox="1"/>
            <p:nvPr/>
          </p:nvSpPr>
          <p:spPr>
            <a:xfrm>
              <a:off x="5211288" y="2138391"/>
              <a:ext cx="144000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July - September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65BA85B-40A7-31C2-75C9-E0850A8E9B2B}"/>
                </a:ext>
              </a:extLst>
            </p:cNvPr>
            <p:cNvSpPr txBox="1"/>
            <p:nvPr/>
          </p:nvSpPr>
          <p:spPr>
            <a:xfrm>
              <a:off x="5335994" y="3847601"/>
              <a:ext cx="1186988" cy="4780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Review &amp; Approve </a:t>
              </a:r>
            </a:p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FY2026 Audited </a:t>
              </a:r>
            </a:p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Financial Statements</a:t>
              </a:r>
            </a:p>
          </p:txBody>
        </p:sp>
      </p:grpSp>
      <p:pic>
        <p:nvPicPr>
          <p:cNvPr id="3" name="Picture 2" descr="A group of people standing in a circle&#10;&#10;AI-generated content may be incorrect.">
            <a:extLst>
              <a:ext uri="{FF2B5EF4-FFF2-40B4-BE49-F238E27FC236}">
                <a16:creationId xmlns:a16="http://schemas.microsoft.com/office/drawing/2014/main" id="{73A3D3AA-DEA4-B91A-A480-B05D31C13D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5376" y="1666670"/>
            <a:ext cx="4876216" cy="3254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6175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</a:p>
        </p:txBody>
      </p:sp>
    </p:spTree>
    <p:extLst>
      <p:ext uri="{BB962C8B-B14F-4D97-AF65-F5344CB8AC3E}">
        <p14:creationId xmlns:p14="http://schemas.microsoft.com/office/powerpoint/2010/main" val="2974060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19BC4D-5389-B161-F4B2-EB7C909E1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B088760-968A-8A6C-E24F-6C247B24E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MCA STAFF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991601F-04A5-B8EB-92E1-3A2039C66212}"/>
              </a:ext>
            </a:extLst>
          </p:cNvPr>
          <p:cNvGrpSpPr/>
          <p:nvPr/>
        </p:nvGrpSpPr>
        <p:grpSpPr>
          <a:xfrm>
            <a:off x="6068501" y="1634723"/>
            <a:ext cx="5703524" cy="4300584"/>
            <a:chOff x="5837920" y="1483605"/>
            <a:chExt cx="5958237" cy="5831129"/>
          </a:xfrm>
        </p:grpSpPr>
        <p:sp>
          <p:nvSpPr>
            <p:cNvPr id="3" name="Text Placeholder 65">
              <a:extLst>
                <a:ext uri="{FF2B5EF4-FFF2-40B4-BE49-F238E27FC236}">
                  <a16:creationId xmlns:a16="http://schemas.microsoft.com/office/drawing/2014/main" id="{5E0527F8-9B46-0891-E67D-58107EB09CD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605759" y="1483605"/>
              <a:ext cx="4190397" cy="134112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Develop and execute organizational strategies for growth and impact.</a:t>
              </a:r>
            </a:p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Foster partnerships, advocate for the association, and represent its vision at various levels.</a:t>
              </a:r>
            </a:p>
          </p:txBody>
        </p:sp>
        <p:sp>
          <p:nvSpPr>
            <p:cNvPr id="5" name="Text Placeholder 65">
              <a:extLst>
                <a:ext uri="{FF2B5EF4-FFF2-40B4-BE49-F238E27FC236}">
                  <a16:creationId xmlns:a16="http://schemas.microsoft.com/office/drawing/2014/main" id="{CE183E66-2EBA-6F67-396C-949EB6B635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605761" y="2980275"/>
              <a:ext cx="4190396" cy="134112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Maintain accurate records, process transactions, and support budget oversight.</a:t>
              </a:r>
            </a:p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Manage office tasks, assist in coordination, and ensure smooth day-to-day operations.</a:t>
              </a:r>
            </a:p>
          </p:txBody>
        </p:sp>
        <p:sp>
          <p:nvSpPr>
            <p:cNvPr id="6" name="Text Placeholder 65">
              <a:extLst>
                <a:ext uri="{FF2B5EF4-FFF2-40B4-BE49-F238E27FC236}">
                  <a16:creationId xmlns:a16="http://schemas.microsoft.com/office/drawing/2014/main" id="{02413C16-714E-B5BF-E82A-819507A360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605759" y="4476945"/>
              <a:ext cx="4189500" cy="134112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Plan and implement youth cycling initiatives, educational programs, and community coach development.</a:t>
              </a:r>
            </a:p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MCA communications: newsletter, social media, content development and promotion. 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7EA1943-919C-0490-5F0B-8C1B6C334A4D}"/>
                </a:ext>
              </a:extLst>
            </p:cNvPr>
            <p:cNvSpPr/>
            <p:nvPr/>
          </p:nvSpPr>
          <p:spPr bwMode="gray">
            <a:xfrm>
              <a:off x="5837920" y="1483605"/>
              <a:ext cx="1584960" cy="13411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r>
                <a:rPr lang="en-US" sz="13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ecutive Director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7C56340-568D-63A6-726D-0DEACF1E6585}"/>
                </a:ext>
              </a:extLst>
            </p:cNvPr>
            <p:cNvSpPr/>
            <p:nvPr/>
          </p:nvSpPr>
          <p:spPr bwMode="gray">
            <a:xfrm>
              <a:off x="5837920" y="2980275"/>
              <a:ext cx="1584960" cy="13411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r>
                <a:rPr lang="en-US" sz="13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okkeeper &amp; Office Admin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E0EE119-3974-78E6-60BF-1CBA957502FF}"/>
                </a:ext>
              </a:extLst>
            </p:cNvPr>
            <p:cNvSpPr/>
            <p:nvPr/>
          </p:nvSpPr>
          <p:spPr bwMode="gray">
            <a:xfrm>
              <a:off x="5837920" y="4476944"/>
              <a:ext cx="1584960" cy="13411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r>
                <a:rPr lang="en-US" sz="13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uth Development Coordinator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2EFDD23-6315-1623-C464-FD994F4D1220}"/>
                </a:ext>
              </a:extLst>
            </p:cNvPr>
            <p:cNvSpPr/>
            <p:nvPr/>
          </p:nvSpPr>
          <p:spPr bwMode="gray">
            <a:xfrm>
              <a:off x="5837920" y="5973612"/>
              <a:ext cx="1584960" cy="13411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r>
                <a:rPr lang="en-US" sz="13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ncial Program Manager &amp;</a:t>
              </a:r>
            </a:p>
            <a:p>
              <a:r>
                <a:rPr lang="en-US" sz="13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 Coach</a:t>
              </a:r>
            </a:p>
          </p:txBody>
        </p:sp>
        <p:sp>
          <p:nvSpPr>
            <p:cNvPr id="12" name="Text Placeholder 65">
              <a:extLst>
                <a:ext uri="{FF2B5EF4-FFF2-40B4-BE49-F238E27FC236}">
                  <a16:creationId xmlns:a16="http://schemas.microsoft.com/office/drawing/2014/main" id="{B72E2676-C2A0-CB1F-3482-7C2318E9F63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605759" y="5973591"/>
              <a:ext cx="4189500" cy="134114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Oversee Provincial cycling program, develop training curricula, and ensure program effectiveness.</a:t>
              </a:r>
            </a:p>
            <a:p>
              <a:pPr marL="135463" lvl="1" indent="-135463">
                <a:spcBef>
                  <a:spcPts val="400"/>
                </a:spcBef>
                <a:buSzPct val="100000"/>
                <a:buFont typeface="Arial"/>
                <a:buChar char="•"/>
              </a:pPr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Recruit athletes, mentor provincial level coaches, support technical aspects of Athlete pathway.</a:t>
              </a:r>
            </a:p>
          </p:txBody>
        </p:sp>
      </p:grpSp>
      <p:sp>
        <p:nvSpPr>
          <p:cNvPr id="13" name="Rectangle 2">
            <a:extLst>
              <a:ext uri="{FF2B5EF4-FFF2-40B4-BE49-F238E27FC236}">
                <a16:creationId xmlns:a16="http://schemas.microsoft.com/office/drawing/2014/main" id="{344B69B2-FD3E-9E74-ADED-E0783A22E93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68501" y="1313572"/>
            <a:ext cx="54864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358866"/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Responsibilities</a:t>
            </a: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486E7129-74E5-1F8E-23AF-9FD054FBB70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32888" y="1313572"/>
            <a:ext cx="54864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358866"/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Ro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FCC53A3-3682-E59A-7C27-28CF4A7A18DD}"/>
              </a:ext>
            </a:extLst>
          </p:cNvPr>
          <p:cNvSpPr/>
          <p:nvPr/>
        </p:nvSpPr>
        <p:spPr bwMode="gray">
          <a:xfrm>
            <a:off x="532888" y="4946184"/>
            <a:ext cx="2116570" cy="989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ncial Program Manager &amp; Head Coach</a:t>
            </a:r>
          </a:p>
          <a:p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k Berge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EE68DCB-71B5-CE2A-5FA9-4A8AC0D9572D}"/>
              </a:ext>
            </a:extLst>
          </p:cNvPr>
          <p:cNvSpPr/>
          <p:nvPr/>
        </p:nvSpPr>
        <p:spPr bwMode="gray">
          <a:xfrm>
            <a:off x="3115481" y="2733960"/>
            <a:ext cx="2116570" cy="9891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/>
          <a:lstStyle/>
          <a:p>
            <a:b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Office Admin</a:t>
            </a:r>
          </a:p>
          <a:p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ny Sei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44A76A2-5B77-CDC0-211F-AFA4769AA1AC}"/>
              </a:ext>
            </a:extLst>
          </p:cNvPr>
          <p:cNvSpPr/>
          <p:nvPr/>
        </p:nvSpPr>
        <p:spPr bwMode="gray">
          <a:xfrm>
            <a:off x="3123926" y="3834567"/>
            <a:ext cx="2116570" cy="9891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/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assroots/Marketing</a:t>
            </a:r>
          </a:p>
          <a:p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hanie Keith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E613219-5D5B-BF36-1233-21DA2C426991}"/>
              </a:ext>
            </a:extLst>
          </p:cNvPr>
          <p:cNvSpPr/>
          <p:nvPr/>
        </p:nvSpPr>
        <p:spPr bwMode="gray">
          <a:xfrm>
            <a:off x="532888" y="1629917"/>
            <a:ext cx="2116570" cy="9891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/>
          <a:lstStyle/>
          <a:p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Executive Director</a:t>
            </a:r>
          </a:p>
          <a:p>
            <a:endParaRPr lang="en-US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ila Cruickshank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F195075-6A96-D5E9-CD5E-B30E40F45C5F}"/>
              </a:ext>
            </a:extLst>
          </p:cNvPr>
          <p:cNvCxnSpPr>
            <a:stCxn id="22" idx="2"/>
            <a:endCxn id="19" idx="0"/>
          </p:cNvCxnSpPr>
          <p:nvPr/>
        </p:nvCxnSpPr>
        <p:spPr>
          <a:xfrm>
            <a:off x="1591173" y="2619039"/>
            <a:ext cx="0" cy="232714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>
            <a:extLst>
              <a:ext uri="{FF2B5EF4-FFF2-40B4-BE49-F238E27FC236}">
                <a16:creationId xmlns:a16="http://schemas.microsoft.com/office/drawing/2014/main" id="{537AEA92-A8D4-16F9-8768-8FAE69CC684B}"/>
              </a:ext>
            </a:extLst>
          </p:cNvPr>
          <p:cNvCxnSpPr>
            <a:stCxn id="22" idx="3"/>
            <a:endCxn id="20" idx="1"/>
          </p:cNvCxnSpPr>
          <p:nvPr/>
        </p:nvCxnSpPr>
        <p:spPr>
          <a:xfrm>
            <a:off x="2649458" y="2124478"/>
            <a:ext cx="466023" cy="1104043"/>
          </a:xfrm>
          <a:prstGeom prst="bentConnector3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27017263-EACE-6880-B18D-7E4762700431}"/>
              </a:ext>
            </a:extLst>
          </p:cNvPr>
          <p:cNvCxnSpPr>
            <a:cxnSpLocks/>
            <a:stCxn id="22" idx="3"/>
            <a:endCxn id="21" idx="1"/>
          </p:cNvCxnSpPr>
          <p:nvPr/>
        </p:nvCxnSpPr>
        <p:spPr>
          <a:xfrm>
            <a:off x="2649458" y="2124478"/>
            <a:ext cx="474468" cy="2204650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88288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9CC46-776E-3E5B-781F-0B6DADA7D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D3252D5-F18A-71FA-EEAD-8465EF484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2025 STRATEGIC PRIORITIES</a:t>
            </a:r>
          </a:p>
        </p:txBody>
      </p:sp>
      <p:sp>
        <p:nvSpPr>
          <p:cNvPr id="2" name="Freeform 34">
            <a:extLst>
              <a:ext uri="{FF2B5EF4-FFF2-40B4-BE49-F238E27FC236}">
                <a16:creationId xmlns:a16="http://schemas.microsoft.com/office/drawing/2014/main" id="{49DD968E-824E-1F1D-51A7-14EFFA78515F}"/>
              </a:ext>
            </a:extLst>
          </p:cNvPr>
          <p:cNvSpPr/>
          <p:nvPr/>
        </p:nvSpPr>
        <p:spPr>
          <a:xfrm flipH="1">
            <a:off x="8965786" y="3531045"/>
            <a:ext cx="143246" cy="105235"/>
          </a:xfrm>
          <a:custGeom>
            <a:avLst/>
            <a:gdLst>
              <a:gd name="connsiteX0" fmla="*/ 0 w 104775"/>
              <a:gd name="connsiteY0" fmla="*/ 128587 h 128587"/>
              <a:gd name="connsiteX1" fmla="*/ 103187 w 104775"/>
              <a:gd name="connsiteY1" fmla="*/ 0 h 128587"/>
              <a:gd name="connsiteX2" fmla="*/ 104775 w 104775"/>
              <a:gd name="connsiteY2" fmla="*/ 128587 h 128587"/>
              <a:gd name="connsiteX3" fmla="*/ 0 w 104775"/>
              <a:gd name="connsiteY3" fmla="*/ 128587 h 128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" h="128587">
                <a:moveTo>
                  <a:pt x="0" y="128587"/>
                </a:moveTo>
                <a:lnTo>
                  <a:pt x="103187" y="0"/>
                </a:lnTo>
                <a:cubicBezTo>
                  <a:pt x="103716" y="42862"/>
                  <a:pt x="104246" y="85725"/>
                  <a:pt x="104775" y="128587"/>
                </a:cubicBezTo>
                <a:lnTo>
                  <a:pt x="0" y="128587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" name="Freeform 35">
            <a:extLst>
              <a:ext uri="{FF2B5EF4-FFF2-40B4-BE49-F238E27FC236}">
                <a16:creationId xmlns:a16="http://schemas.microsoft.com/office/drawing/2014/main" id="{23A7F693-42D7-9C6A-7A55-0C2434B971F0}"/>
              </a:ext>
            </a:extLst>
          </p:cNvPr>
          <p:cNvSpPr/>
          <p:nvPr/>
        </p:nvSpPr>
        <p:spPr>
          <a:xfrm>
            <a:off x="537441" y="5265375"/>
            <a:ext cx="1659916" cy="283872"/>
          </a:xfrm>
          <a:custGeom>
            <a:avLst/>
            <a:gdLst>
              <a:gd name="connsiteX0" fmla="*/ 0 w 1073399"/>
              <a:gd name="connsiteY0" fmla="*/ 0 h 644039"/>
              <a:gd name="connsiteX1" fmla="*/ 1073399 w 1073399"/>
              <a:gd name="connsiteY1" fmla="*/ 0 h 644039"/>
              <a:gd name="connsiteX2" fmla="*/ 1073399 w 1073399"/>
              <a:gd name="connsiteY2" fmla="*/ 644039 h 644039"/>
              <a:gd name="connsiteX3" fmla="*/ 0 w 1073399"/>
              <a:gd name="connsiteY3" fmla="*/ 644039 h 644039"/>
              <a:gd name="connsiteX4" fmla="*/ 0 w 1073399"/>
              <a:gd name="connsiteY4" fmla="*/ 0 h 644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99" h="644039">
                <a:moveTo>
                  <a:pt x="0" y="0"/>
                </a:moveTo>
                <a:lnTo>
                  <a:pt x="1073399" y="0"/>
                </a:lnTo>
                <a:lnTo>
                  <a:pt x="1073399" y="644039"/>
                </a:lnTo>
                <a:lnTo>
                  <a:pt x="0" y="644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marR="0" lvl="0" indent="0" algn="ctr" defTabSz="7994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ach Certification</a:t>
            </a:r>
          </a:p>
        </p:txBody>
      </p:sp>
      <p:sp>
        <p:nvSpPr>
          <p:cNvPr id="6" name="Freeform 36">
            <a:extLst>
              <a:ext uri="{FF2B5EF4-FFF2-40B4-BE49-F238E27FC236}">
                <a16:creationId xmlns:a16="http://schemas.microsoft.com/office/drawing/2014/main" id="{6E2BA917-A566-7060-DCE3-FBC01A32E18E}"/>
              </a:ext>
            </a:extLst>
          </p:cNvPr>
          <p:cNvSpPr/>
          <p:nvPr/>
        </p:nvSpPr>
        <p:spPr>
          <a:xfrm>
            <a:off x="2389786" y="5265375"/>
            <a:ext cx="1687295" cy="283872"/>
          </a:xfrm>
          <a:custGeom>
            <a:avLst/>
            <a:gdLst>
              <a:gd name="connsiteX0" fmla="*/ 0 w 1073399"/>
              <a:gd name="connsiteY0" fmla="*/ 0 h 644039"/>
              <a:gd name="connsiteX1" fmla="*/ 1073399 w 1073399"/>
              <a:gd name="connsiteY1" fmla="*/ 0 h 644039"/>
              <a:gd name="connsiteX2" fmla="*/ 1073399 w 1073399"/>
              <a:gd name="connsiteY2" fmla="*/ 644039 h 644039"/>
              <a:gd name="connsiteX3" fmla="*/ 0 w 1073399"/>
              <a:gd name="connsiteY3" fmla="*/ 644039 h 644039"/>
              <a:gd name="connsiteX4" fmla="*/ 0 w 1073399"/>
              <a:gd name="connsiteY4" fmla="*/ 0 h 644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99" h="644039">
                <a:moveTo>
                  <a:pt x="0" y="0"/>
                </a:moveTo>
                <a:lnTo>
                  <a:pt x="1073399" y="0"/>
                </a:lnTo>
                <a:lnTo>
                  <a:pt x="1073399" y="644039"/>
                </a:lnTo>
                <a:lnTo>
                  <a:pt x="0" y="644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lvl="0" algn="ctr" defTabSz="799477">
              <a:spcBef>
                <a:spcPct val="0"/>
              </a:spcBef>
              <a:defRPr/>
            </a:pPr>
            <a:r>
              <a:rPr lang="en-US" sz="1600" b="1" kern="0" baseline="-25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bs</a:t>
            </a:r>
          </a:p>
        </p:txBody>
      </p:sp>
      <p:sp>
        <p:nvSpPr>
          <p:cNvPr id="17" name="Freeform 37">
            <a:extLst>
              <a:ext uri="{FF2B5EF4-FFF2-40B4-BE49-F238E27FC236}">
                <a16:creationId xmlns:a16="http://schemas.microsoft.com/office/drawing/2014/main" id="{48538BDC-560B-AE71-8F07-56A59E1A3B2D}"/>
              </a:ext>
            </a:extLst>
          </p:cNvPr>
          <p:cNvSpPr/>
          <p:nvPr/>
        </p:nvSpPr>
        <p:spPr>
          <a:xfrm>
            <a:off x="4269510" y="5265375"/>
            <a:ext cx="1670212" cy="283872"/>
          </a:xfrm>
          <a:custGeom>
            <a:avLst/>
            <a:gdLst>
              <a:gd name="connsiteX0" fmla="*/ 0 w 1073399"/>
              <a:gd name="connsiteY0" fmla="*/ 0 h 644039"/>
              <a:gd name="connsiteX1" fmla="*/ 1073399 w 1073399"/>
              <a:gd name="connsiteY1" fmla="*/ 0 h 644039"/>
              <a:gd name="connsiteX2" fmla="*/ 1073399 w 1073399"/>
              <a:gd name="connsiteY2" fmla="*/ 644039 h 644039"/>
              <a:gd name="connsiteX3" fmla="*/ 0 w 1073399"/>
              <a:gd name="connsiteY3" fmla="*/ 644039 h 644039"/>
              <a:gd name="connsiteX4" fmla="*/ 0 w 1073399"/>
              <a:gd name="connsiteY4" fmla="*/ 0 h 644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99" h="644039">
                <a:moveTo>
                  <a:pt x="0" y="0"/>
                </a:moveTo>
                <a:lnTo>
                  <a:pt x="1073399" y="0"/>
                </a:lnTo>
                <a:lnTo>
                  <a:pt x="1073399" y="644039"/>
                </a:lnTo>
                <a:lnTo>
                  <a:pt x="0" y="644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lvl="0" algn="ctr" defTabSz="799477">
              <a:spcBef>
                <a:spcPct val="0"/>
              </a:spcBef>
              <a:defRPr/>
            </a:pPr>
            <a:r>
              <a:rPr lang="en-US" sz="1600" b="1" kern="0" baseline="-25000" dirty="0">
                <a:latin typeface="Arial" panose="020B0604020202020204" pitchFamily="34" charset="0"/>
                <a:cs typeface="Arial" panose="020B0604020202020204" pitchFamily="34" charset="0"/>
              </a:rPr>
              <a:t>Program Quality</a:t>
            </a:r>
          </a:p>
        </p:txBody>
      </p:sp>
      <p:sp>
        <p:nvSpPr>
          <p:cNvPr id="25" name="Freeform 38">
            <a:extLst>
              <a:ext uri="{FF2B5EF4-FFF2-40B4-BE49-F238E27FC236}">
                <a16:creationId xmlns:a16="http://schemas.microsoft.com/office/drawing/2014/main" id="{C0614A55-1983-3A6B-0B4D-A265BF257ADA}"/>
              </a:ext>
            </a:extLst>
          </p:cNvPr>
          <p:cNvSpPr/>
          <p:nvPr/>
        </p:nvSpPr>
        <p:spPr>
          <a:xfrm>
            <a:off x="6136777" y="5265375"/>
            <a:ext cx="1695020" cy="283872"/>
          </a:xfrm>
          <a:custGeom>
            <a:avLst/>
            <a:gdLst>
              <a:gd name="connsiteX0" fmla="*/ 0 w 1073399"/>
              <a:gd name="connsiteY0" fmla="*/ 0 h 644039"/>
              <a:gd name="connsiteX1" fmla="*/ 1073399 w 1073399"/>
              <a:gd name="connsiteY1" fmla="*/ 0 h 644039"/>
              <a:gd name="connsiteX2" fmla="*/ 1073399 w 1073399"/>
              <a:gd name="connsiteY2" fmla="*/ 644039 h 644039"/>
              <a:gd name="connsiteX3" fmla="*/ 0 w 1073399"/>
              <a:gd name="connsiteY3" fmla="*/ 644039 h 644039"/>
              <a:gd name="connsiteX4" fmla="*/ 0 w 1073399"/>
              <a:gd name="connsiteY4" fmla="*/ 0 h 644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99" h="644039">
                <a:moveTo>
                  <a:pt x="0" y="0"/>
                </a:moveTo>
                <a:lnTo>
                  <a:pt x="1073399" y="0"/>
                </a:lnTo>
                <a:lnTo>
                  <a:pt x="1073399" y="644039"/>
                </a:lnTo>
                <a:lnTo>
                  <a:pt x="0" y="64403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algn="ctr" defTabSz="799477">
              <a:spcBef>
                <a:spcPct val="0"/>
              </a:spcBef>
              <a:defRPr/>
            </a:pPr>
            <a:r>
              <a:rPr lang="en-US" sz="1600" b="1" kern="0" baseline="-25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</a:p>
        </p:txBody>
      </p:sp>
      <p:sp>
        <p:nvSpPr>
          <p:cNvPr id="26" name="Freeform 39">
            <a:extLst>
              <a:ext uri="{FF2B5EF4-FFF2-40B4-BE49-F238E27FC236}">
                <a16:creationId xmlns:a16="http://schemas.microsoft.com/office/drawing/2014/main" id="{BDA9CBF6-68BB-C110-96F0-73D2642B7DBA}"/>
              </a:ext>
            </a:extLst>
          </p:cNvPr>
          <p:cNvSpPr/>
          <p:nvPr/>
        </p:nvSpPr>
        <p:spPr>
          <a:xfrm>
            <a:off x="8019601" y="5265375"/>
            <a:ext cx="1681065" cy="283872"/>
          </a:xfrm>
          <a:custGeom>
            <a:avLst/>
            <a:gdLst>
              <a:gd name="connsiteX0" fmla="*/ 0 w 1073399"/>
              <a:gd name="connsiteY0" fmla="*/ 0 h 644039"/>
              <a:gd name="connsiteX1" fmla="*/ 1073399 w 1073399"/>
              <a:gd name="connsiteY1" fmla="*/ 0 h 644039"/>
              <a:gd name="connsiteX2" fmla="*/ 1073399 w 1073399"/>
              <a:gd name="connsiteY2" fmla="*/ 644039 h 644039"/>
              <a:gd name="connsiteX3" fmla="*/ 0 w 1073399"/>
              <a:gd name="connsiteY3" fmla="*/ 644039 h 644039"/>
              <a:gd name="connsiteX4" fmla="*/ 0 w 1073399"/>
              <a:gd name="connsiteY4" fmla="*/ 0 h 644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99" h="644039">
                <a:moveTo>
                  <a:pt x="0" y="0"/>
                </a:moveTo>
                <a:lnTo>
                  <a:pt x="1073399" y="0"/>
                </a:lnTo>
                <a:lnTo>
                  <a:pt x="1073399" y="644039"/>
                </a:lnTo>
                <a:lnTo>
                  <a:pt x="0" y="644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lvl="0" algn="ctr" defTabSz="799477">
              <a:spcBef>
                <a:spcPct val="0"/>
              </a:spcBef>
              <a:defRPr/>
            </a:pPr>
            <a:r>
              <a:rPr lang="en-US" sz="1600" b="1" kern="0" baseline="-25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Health</a:t>
            </a:r>
          </a:p>
        </p:txBody>
      </p:sp>
      <p:sp>
        <p:nvSpPr>
          <p:cNvPr id="27" name="Freeform 40">
            <a:extLst>
              <a:ext uri="{FF2B5EF4-FFF2-40B4-BE49-F238E27FC236}">
                <a16:creationId xmlns:a16="http://schemas.microsoft.com/office/drawing/2014/main" id="{60D55CB0-C837-F4EB-0624-80C294229272}"/>
              </a:ext>
            </a:extLst>
          </p:cNvPr>
          <p:cNvSpPr/>
          <p:nvPr/>
        </p:nvSpPr>
        <p:spPr>
          <a:xfrm>
            <a:off x="9893097" y="5265375"/>
            <a:ext cx="1687272" cy="283872"/>
          </a:xfrm>
          <a:custGeom>
            <a:avLst/>
            <a:gdLst>
              <a:gd name="connsiteX0" fmla="*/ 0 w 1073399"/>
              <a:gd name="connsiteY0" fmla="*/ 0 h 644039"/>
              <a:gd name="connsiteX1" fmla="*/ 1073399 w 1073399"/>
              <a:gd name="connsiteY1" fmla="*/ 0 h 644039"/>
              <a:gd name="connsiteX2" fmla="*/ 1073399 w 1073399"/>
              <a:gd name="connsiteY2" fmla="*/ 644039 h 644039"/>
              <a:gd name="connsiteX3" fmla="*/ 0 w 1073399"/>
              <a:gd name="connsiteY3" fmla="*/ 644039 h 644039"/>
              <a:gd name="connsiteX4" fmla="*/ 0 w 1073399"/>
              <a:gd name="connsiteY4" fmla="*/ 0 h 644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99" h="644039">
                <a:moveTo>
                  <a:pt x="0" y="0"/>
                </a:moveTo>
                <a:lnTo>
                  <a:pt x="1073399" y="0"/>
                </a:lnTo>
                <a:lnTo>
                  <a:pt x="1073399" y="644039"/>
                </a:lnTo>
                <a:lnTo>
                  <a:pt x="0" y="644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algn="ctr" defTabSz="799477">
              <a:spcBef>
                <a:spcPct val="0"/>
              </a:spcBef>
              <a:defRPr/>
            </a:pPr>
            <a:r>
              <a:rPr lang="en-US" sz="1600" b="1" kern="0" baseline="-25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 Sport</a:t>
            </a:r>
          </a:p>
        </p:txBody>
      </p:sp>
      <p:sp>
        <p:nvSpPr>
          <p:cNvPr id="28" name="Freeform 41">
            <a:extLst>
              <a:ext uri="{FF2B5EF4-FFF2-40B4-BE49-F238E27FC236}">
                <a16:creationId xmlns:a16="http://schemas.microsoft.com/office/drawing/2014/main" id="{3F07E06C-3E4E-5C4F-C163-34671C7A8922}"/>
              </a:ext>
            </a:extLst>
          </p:cNvPr>
          <p:cNvSpPr/>
          <p:nvPr/>
        </p:nvSpPr>
        <p:spPr>
          <a:xfrm>
            <a:off x="5057262" y="1491029"/>
            <a:ext cx="2006017" cy="2110512"/>
          </a:xfrm>
          <a:custGeom>
            <a:avLst/>
            <a:gdLst>
              <a:gd name="connsiteX0" fmla="*/ 842434 w 1689100"/>
              <a:gd name="connsiteY0" fmla="*/ 0 h 1214967"/>
              <a:gd name="connsiteX1" fmla="*/ 0 w 1689100"/>
              <a:gd name="connsiteY1" fmla="*/ 215900 h 1214967"/>
              <a:gd name="connsiteX2" fmla="*/ 0 w 1689100"/>
              <a:gd name="connsiteY2" fmla="*/ 1214967 h 1214967"/>
              <a:gd name="connsiteX3" fmla="*/ 1689100 w 1689100"/>
              <a:gd name="connsiteY3" fmla="*/ 1214967 h 1214967"/>
              <a:gd name="connsiteX4" fmla="*/ 1689100 w 1689100"/>
              <a:gd name="connsiteY4" fmla="*/ 203200 h 1214967"/>
              <a:gd name="connsiteX5" fmla="*/ 842434 w 1689100"/>
              <a:gd name="connsiteY5" fmla="*/ 0 h 121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89100" h="1214967">
                <a:moveTo>
                  <a:pt x="842434" y="0"/>
                </a:moveTo>
                <a:lnTo>
                  <a:pt x="0" y="215900"/>
                </a:lnTo>
                <a:lnTo>
                  <a:pt x="0" y="1214967"/>
                </a:lnTo>
                <a:lnTo>
                  <a:pt x="1689100" y="1214967"/>
                </a:lnTo>
                <a:lnTo>
                  <a:pt x="1689100" y="203200"/>
                </a:lnTo>
                <a:lnTo>
                  <a:pt x="842434" y="0"/>
                </a:ln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9" name="Freeform 42">
            <a:extLst>
              <a:ext uri="{FF2B5EF4-FFF2-40B4-BE49-F238E27FC236}">
                <a16:creationId xmlns:a16="http://schemas.microsoft.com/office/drawing/2014/main" id="{24D00BB9-12B8-877A-8E97-633495D4D771}"/>
              </a:ext>
            </a:extLst>
          </p:cNvPr>
          <p:cNvSpPr/>
          <p:nvPr/>
        </p:nvSpPr>
        <p:spPr>
          <a:xfrm>
            <a:off x="2642616" y="1876343"/>
            <a:ext cx="2414015" cy="1725200"/>
          </a:xfrm>
          <a:custGeom>
            <a:avLst/>
            <a:gdLst>
              <a:gd name="connsiteX0" fmla="*/ 1320800 w 1325034"/>
              <a:gd name="connsiteY0" fmla="*/ 12700 h 952500"/>
              <a:gd name="connsiteX1" fmla="*/ 0 w 1325034"/>
              <a:gd name="connsiteY1" fmla="*/ 334434 h 952500"/>
              <a:gd name="connsiteX2" fmla="*/ 279400 w 1325034"/>
              <a:gd name="connsiteY2" fmla="*/ 334434 h 952500"/>
              <a:gd name="connsiteX3" fmla="*/ 279400 w 1325034"/>
              <a:gd name="connsiteY3" fmla="*/ 952500 h 952500"/>
              <a:gd name="connsiteX4" fmla="*/ 1325034 w 1325034"/>
              <a:gd name="connsiteY4" fmla="*/ 952500 h 952500"/>
              <a:gd name="connsiteX5" fmla="*/ 1325034 w 1325034"/>
              <a:gd name="connsiteY5" fmla="*/ 0 h 9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5034" h="952500">
                <a:moveTo>
                  <a:pt x="1320800" y="12700"/>
                </a:moveTo>
                <a:lnTo>
                  <a:pt x="0" y="334434"/>
                </a:lnTo>
                <a:lnTo>
                  <a:pt x="279400" y="334434"/>
                </a:lnTo>
                <a:lnTo>
                  <a:pt x="279400" y="952500"/>
                </a:lnTo>
                <a:lnTo>
                  <a:pt x="1325034" y="952500"/>
                </a:lnTo>
                <a:lnTo>
                  <a:pt x="1325034" y="0"/>
                </a:lnTo>
              </a:path>
            </a:pathLst>
          </a:cu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0" dirty="0">
                <a:solidFill>
                  <a:prstClr val="white"/>
                </a:solidFill>
                <a:latin typeface="Calibri Light"/>
              </a:rPr>
              <a:t>         Our People are </a:t>
            </a:r>
          </a:p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     our most </a:t>
            </a:r>
          </a:p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     valuable asset</a:t>
            </a:r>
          </a:p>
        </p:txBody>
      </p:sp>
      <p:sp>
        <p:nvSpPr>
          <p:cNvPr id="30" name="Freeform 43">
            <a:extLst>
              <a:ext uri="{FF2B5EF4-FFF2-40B4-BE49-F238E27FC236}">
                <a16:creationId xmlns:a16="http://schemas.microsoft.com/office/drawing/2014/main" id="{8D56DA4D-7398-955D-BF73-C0661B1B21D1}"/>
              </a:ext>
            </a:extLst>
          </p:cNvPr>
          <p:cNvSpPr/>
          <p:nvPr/>
        </p:nvSpPr>
        <p:spPr>
          <a:xfrm flipH="1">
            <a:off x="7221504" y="1876343"/>
            <a:ext cx="2215104" cy="1725200"/>
          </a:xfrm>
          <a:custGeom>
            <a:avLst/>
            <a:gdLst>
              <a:gd name="connsiteX0" fmla="*/ 1320800 w 1325034"/>
              <a:gd name="connsiteY0" fmla="*/ 12700 h 952500"/>
              <a:gd name="connsiteX1" fmla="*/ 0 w 1325034"/>
              <a:gd name="connsiteY1" fmla="*/ 334434 h 952500"/>
              <a:gd name="connsiteX2" fmla="*/ 279400 w 1325034"/>
              <a:gd name="connsiteY2" fmla="*/ 334434 h 952500"/>
              <a:gd name="connsiteX3" fmla="*/ 279400 w 1325034"/>
              <a:gd name="connsiteY3" fmla="*/ 952500 h 952500"/>
              <a:gd name="connsiteX4" fmla="*/ 1325034 w 1325034"/>
              <a:gd name="connsiteY4" fmla="*/ 952500 h 952500"/>
              <a:gd name="connsiteX5" fmla="*/ 1325034 w 1325034"/>
              <a:gd name="connsiteY5" fmla="*/ 0 h 9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5034" h="952500">
                <a:moveTo>
                  <a:pt x="1320800" y="12700"/>
                </a:moveTo>
                <a:lnTo>
                  <a:pt x="0" y="334434"/>
                </a:lnTo>
                <a:lnTo>
                  <a:pt x="279400" y="334434"/>
                </a:lnTo>
                <a:lnTo>
                  <a:pt x="279400" y="952500"/>
                </a:lnTo>
                <a:lnTo>
                  <a:pt x="1325034" y="952500"/>
                </a:lnTo>
                <a:lnTo>
                  <a:pt x="1325034" y="0"/>
                </a:lnTo>
              </a:path>
            </a:pathLst>
          </a:cu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Our members are </a:t>
            </a:r>
          </a:p>
          <a:p>
            <a:pPr marL="0" marR="0" lvl="0" indent="0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   the core of the</a:t>
            </a:r>
          </a:p>
          <a:p>
            <a:pPr marL="0" marR="0" lvl="0" indent="0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     Association’s </a:t>
            </a:r>
          </a:p>
          <a:p>
            <a:pPr marL="0" marR="0" lvl="0" indent="0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mission and purpose</a:t>
            </a:r>
          </a:p>
        </p:txBody>
      </p:sp>
      <p:sp>
        <p:nvSpPr>
          <p:cNvPr id="31" name="Freeform 44">
            <a:extLst>
              <a:ext uri="{FF2B5EF4-FFF2-40B4-BE49-F238E27FC236}">
                <a16:creationId xmlns:a16="http://schemas.microsoft.com/office/drawing/2014/main" id="{B36F7B3A-5A2E-3360-B0CC-8D5163D8B101}"/>
              </a:ext>
            </a:extLst>
          </p:cNvPr>
          <p:cNvSpPr/>
          <p:nvPr/>
        </p:nvSpPr>
        <p:spPr>
          <a:xfrm>
            <a:off x="3005180" y="3531045"/>
            <a:ext cx="143246" cy="105235"/>
          </a:xfrm>
          <a:custGeom>
            <a:avLst/>
            <a:gdLst>
              <a:gd name="connsiteX0" fmla="*/ 0 w 104775"/>
              <a:gd name="connsiteY0" fmla="*/ 128587 h 128587"/>
              <a:gd name="connsiteX1" fmla="*/ 103187 w 104775"/>
              <a:gd name="connsiteY1" fmla="*/ 0 h 128587"/>
              <a:gd name="connsiteX2" fmla="*/ 104775 w 104775"/>
              <a:gd name="connsiteY2" fmla="*/ 128587 h 128587"/>
              <a:gd name="connsiteX3" fmla="*/ 0 w 104775"/>
              <a:gd name="connsiteY3" fmla="*/ 128587 h 128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" h="128587">
                <a:moveTo>
                  <a:pt x="0" y="128587"/>
                </a:moveTo>
                <a:lnTo>
                  <a:pt x="103187" y="0"/>
                </a:lnTo>
                <a:cubicBezTo>
                  <a:pt x="103716" y="42862"/>
                  <a:pt x="104246" y="85725"/>
                  <a:pt x="104775" y="128587"/>
                </a:cubicBezTo>
                <a:lnTo>
                  <a:pt x="0" y="128587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33F922C0-82FC-D11F-EB10-38E7C271EE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08786" y="3634319"/>
            <a:ext cx="6100235" cy="674619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square" lIns="0" tIns="45685" rIns="0" bIns="0" anchor="ctr" anchorCtr="0">
            <a:noAutofit/>
          </a:bodyPr>
          <a:lstStyle/>
          <a:p>
            <a:pPr lvl="0" algn="ctr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  <a:defRPr/>
            </a:pPr>
            <a:r>
              <a:rPr lang="en-CA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ing programs, Board Excellence, and Fostering Community Impact for Sustainable Growth.</a:t>
            </a:r>
            <a:endParaRPr lang="en-GB" sz="14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B5C751A7-CA89-D1EA-5AE7-CDF693942DA4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5175502" y="1515571"/>
            <a:ext cx="1923125" cy="237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285750" lvl="0" indent="-285750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  <a:buFontTx/>
              <a:buChar char="-"/>
            </a:pPr>
            <a:endParaRPr lang="en-GB" sz="1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</a:pPr>
            <a:endParaRPr lang="en-GB" sz="1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</a:pPr>
            <a:r>
              <a:rPr lang="en-GB" sz="1200" kern="0" dirty="0">
                <a:latin typeface="Arial" panose="020B0604020202020204" pitchFamily="34" charset="0"/>
                <a:cs typeface="Arial" panose="020B0604020202020204" pitchFamily="34" charset="0"/>
              </a:rPr>
              <a:t>Sport Initiation</a:t>
            </a:r>
          </a:p>
          <a:p>
            <a:pPr algn="ctr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</a:pPr>
            <a:r>
              <a:rPr lang="en-GB" sz="1200" kern="0" dirty="0">
                <a:latin typeface="Arial" panose="020B0604020202020204" pitchFamily="34" charset="0"/>
                <a:cs typeface="Arial" panose="020B0604020202020204" pitchFamily="34" charset="0"/>
              </a:rPr>
              <a:t>Performance Pathway</a:t>
            </a:r>
          </a:p>
          <a:p>
            <a:pPr lvl="0" algn="ctr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</a:pPr>
            <a:r>
              <a:rPr lang="en-GB" sz="1200" kern="0" dirty="0">
                <a:latin typeface="Arial" panose="020B0604020202020204" pitchFamily="34" charset="0"/>
                <a:cs typeface="Arial" panose="020B0604020202020204" pitchFamily="34" charset="0"/>
              </a:rPr>
              <a:t>Technical Leadership</a:t>
            </a:r>
          </a:p>
          <a:p>
            <a:pPr lvl="0" algn="ctr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</a:pPr>
            <a:r>
              <a:rPr lang="en-GB" sz="1200" kern="0" dirty="0">
                <a:latin typeface="Arial" panose="020B0604020202020204" pitchFamily="34" charset="0"/>
                <a:cs typeface="Arial" panose="020B0604020202020204" pitchFamily="34" charset="0"/>
              </a:rPr>
              <a:t>Organizational Effectiveness</a:t>
            </a:r>
          </a:p>
          <a:p>
            <a:pPr marL="285750" lvl="0" indent="-285750" defTabSz="786784">
              <a:lnSpc>
                <a:spcPct val="95000"/>
              </a:lnSpc>
              <a:spcBef>
                <a:spcPct val="80000"/>
              </a:spcBef>
              <a:buClr>
                <a:srgbClr val="313131"/>
              </a:buClr>
              <a:buFontTx/>
              <a:buChar char="-"/>
            </a:pPr>
            <a:r>
              <a:rPr lang="en-GB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 Member Value</a:t>
            </a:r>
          </a:p>
        </p:txBody>
      </p:sp>
      <p:sp>
        <p:nvSpPr>
          <p:cNvPr id="46" name="Freeform 66">
            <a:extLst>
              <a:ext uri="{FF2B5EF4-FFF2-40B4-BE49-F238E27FC236}">
                <a16:creationId xmlns:a16="http://schemas.microsoft.com/office/drawing/2014/main" id="{57A52EE8-1A76-D520-C488-E5B156BFB7CF}"/>
              </a:ext>
            </a:extLst>
          </p:cNvPr>
          <p:cNvSpPr/>
          <p:nvPr/>
        </p:nvSpPr>
        <p:spPr>
          <a:xfrm>
            <a:off x="531071" y="4337478"/>
            <a:ext cx="3381903" cy="912905"/>
          </a:xfrm>
          <a:custGeom>
            <a:avLst/>
            <a:gdLst>
              <a:gd name="connsiteX0" fmla="*/ 1058333 w 6358466"/>
              <a:gd name="connsiteY0" fmla="*/ 0 h 1134533"/>
              <a:gd name="connsiteX1" fmla="*/ 5223933 w 6358466"/>
              <a:gd name="connsiteY1" fmla="*/ 0 h 1134533"/>
              <a:gd name="connsiteX2" fmla="*/ 6358466 w 6358466"/>
              <a:gd name="connsiteY2" fmla="*/ 1134533 h 1134533"/>
              <a:gd name="connsiteX3" fmla="*/ 0 w 6358466"/>
              <a:gd name="connsiteY3" fmla="*/ 1134533 h 1134533"/>
              <a:gd name="connsiteX4" fmla="*/ 1058333 w 6358466"/>
              <a:gd name="connsiteY4" fmla="*/ 0 h 1134533"/>
              <a:gd name="connsiteX0" fmla="*/ 1309325 w 6358466"/>
              <a:gd name="connsiteY0" fmla="*/ 0 h 1140883"/>
              <a:gd name="connsiteX1" fmla="*/ 5223933 w 6358466"/>
              <a:gd name="connsiteY1" fmla="*/ 635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7620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76200 h 1140883"/>
              <a:gd name="connsiteX0" fmla="*/ 1309325 w 6358466"/>
              <a:gd name="connsiteY0" fmla="*/ 0 h 1064683"/>
              <a:gd name="connsiteX1" fmla="*/ 1921518 w 6358466"/>
              <a:gd name="connsiteY1" fmla="*/ 0 h 1064683"/>
              <a:gd name="connsiteX2" fmla="*/ 6358466 w 6358466"/>
              <a:gd name="connsiteY2" fmla="*/ 1064683 h 1064683"/>
              <a:gd name="connsiteX3" fmla="*/ 0 w 6358466"/>
              <a:gd name="connsiteY3" fmla="*/ 1064683 h 1064683"/>
              <a:gd name="connsiteX4" fmla="*/ 1309325 w 6358466"/>
              <a:gd name="connsiteY4" fmla="*/ 0 h 1064683"/>
              <a:gd name="connsiteX0" fmla="*/ 1309325 w 1921518"/>
              <a:gd name="connsiteY0" fmla="*/ 0 h 1115483"/>
              <a:gd name="connsiteX1" fmla="*/ 1921518 w 1921518"/>
              <a:gd name="connsiteY1" fmla="*/ 0 h 1115483"/>
              <a:gd name="connsiteX2" fmla="*/ 1035298 w 1921518"/>
              <a:gd name="connsiteY2" fmla="*/ 1115483 h 1115483"/>
              <a:gd name="connsiteX3" fmla="*/ 0 w 1921518"/>
              <a:gd name="connsiteY3" fmla="*/ 1064683 h 1115483"/>
              <a:gd name="connsiteX4" fmla="*/ 1309325 w 1921518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02675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1525072 w 2137265"/>
              <a:gd name="connsiteY0" fmla="*/ 0 h 1115483"/>
              <a:gd name="connsiteX1" fmla="*/ 2137265 w 2137265"/>
              <a:gd name="connsiteY1" fmla="*/ 0 h 1115483"/>
              <a:gd name="connsiteX2" fmla="*/ 1251045 w 2137265"/>
              <a:gd name="connsiteY2" fmla="*/ 1115483 h 1115483"/>
              <a:gd name="connsiteX3" fmla="*/ 0 w 2137265"/>
              <a:gd name="connsiteY3" fmla="*/ 1115483 h 1115483"/>
              <a:gd name="connsiteX4" fmla="*/ 1525072 w 2137265"/>
              <a:gd name="connsiteY4" fmla="*/ 0 h 1115483"/>
              <a:gd name="connsiteX0" fmla="*/ 1525072 w 2137265"/>
              <a:gd name="connsiteY0" fmla="*/ 0 h 1115483"/>
              <a:gd name="connsiteX1" fmla="*/ 2137265 w 2137265"/>
              <a:gd name="connsiteY1" fmla="*/ 0 h 1115483"/>
              <a:gd name="connsiteX2" fmla="*/ 1030314 w 2137265"/>
              <a:gd name="connsiteY2" fmla="*/ 1111249 h 1115483"/>
              <a:gd name="connsiteX3" fmla="*/ 0 w 2137265"/>
              <a:gd name="connsiteY3" fmla="*/ 1115483 h 1115483"/>
              <a:gd name="connsiteX4" fmla="*/ 1525072 w 2137265"/>
              <a:gd name="connsiteY4" fmla="*/ 0 h 1115483"/>
              <a:gd name="connsiteX0" fmla="*/ 1589155 w 2137265"/>
              <a:gd name="connsiteY0" fmla="*/ 0 h 1115483"/>
              <a:gd name="connsiteX1" fmla="*/ 2137265 w 2137265"/>
              <a:gd name="connsiteY1" fmla="*/ 0 h 1115483"/>
              <a:gd name="connsiteX2" fmla="*/ 1030314 w 2137265"/>
              <a:gd name="connsiteY2" fmla="*/ 1111249 h 1115483"/>
              <a:gd name="connsiteX3" fmla="*/ 0 w 2137265"/>
              <a:gd name="connsiteY3" fmla="*/ 1115483 h 1115483"/>
              <a:gd name="connsiteX4" fmla="*/ 1589155 w 2137265"/>
              <a:gd name="connsiteY4" fmla="*/ 0 h 1115483"/>
              <a:gd name="connsiteX0" fmla="*/ 1589155 w 2080302"/>
              <a:gd name="connsiteY0" fmla="*/ 0 h 1115483"/>
              <a:gd name="connsiteX1" fmla="*/ 2080302 w 2080302"/>
              <a:gd name="connsiteY1" fmla="*/ 4233 h 1115483"/>
              <a:gd name="connsiteX2" fmla="*/ 1030314 w 2080302"/>
              <a:gd name="connsiteY2" fmla="*/ 1111249 h 1115483"/>
              <a:gd name="connsiteX3" fmla="*/ 0 w 2080302"/>
              <a:gd name="connsiteY3" fmla="*/ 1115483 h 1115483"/>
              <a:gd name="connsiteX4" fmla="*/ 1589155 w 2080302"/>
              <a:gd name="connsiteY4" fmla="*/ 0 h 1115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0302" h="1115483">
                <a:moveTo>
                  <a:pt x="1589155" y="0"/>
                </a:moveTo>
                <a:lnTo>
                  <a:pt x="2080302" y="4233"/>
                </a:lnTo>
                <a:lnTo>
                  <a:pt x="1030314" y="1111249"/>
                </a:lnTo>
                <a:lnTo>
                  <a:pt x="0" y="1115483"/>
                </a:lnTo>
                <a:lnTo>
                  <a:pt x="1589155" y="0"/>
                </a:lnTo>
                <a:close/>
              </a:path>
            </a:pathLst>
          </a:custGeom>
          <a:gradFill>
            <a:gsLst>
              <a:gs pos="0">
                <a:sysClr val="window" lastClr="FFFFFF">
                  <a:lumMod val="50000"/>
                </a:sysClr>
              </a:gs>
              <a:gs pos="100000">
                <a:sysClr val="window" lastClr="FFFFFF">
                  <a:lumMod val="95000"/>
                </a:sys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7" name="Freeform 67">
            <a:extLst>
              <a:ext uri="{FF2B5EF4-FFF2-40B4-BE49-F238E27FC236}">
                <a16:creationId xmlns:a16="http://schemas.microsoft.com/office/drawing/2014/main" id="{E404E0E4-7422-9C2B-EFBC-CA77D2439246}"/>
              </a:ext>
            </a:extLst>
          </p:cNvPr>
          <p:cNvSpPr/>
          <p:nvPr/>
        </p:nvSpPr>
        <p:spPr>
          <a:xfrm>
            <a:off x="2386325" y="4334012"/>
            <a:ext cx="2564681" cy="909441"/>
          </a:xfrm>
          <a:custGeom>
            <a:avLst/>
            <a:gdLst>
              <a:gd name="connsiteX0" fmla="*/ 1058333 w 6358466"/>
              <a:gd name="connsiteY0" fmla="*/ 0 h 1134533"/>
              <a:gd name="connsiteX1" fmla="*/ 5223933 w 6358466"/>
              <a:gd name="connsiteY1" fmla="*/ 0 h 1134533"/>
              <a:gd name="connsiteX2" fmla="*/ 6358466 w 6358466"/>
              <a:gd name="connsiteY2" fmla="*/ 1134533 h 1134533"/>
              <a:gd name="connsiteX3" fmla="*/ 0 w 6358466"/>
              <a:gd name="connsiteY3" fmla="*/ 1134533 h 1134533"/>
              <a:gd name="connsiteX4" fmla="*/ 1058333 w 6358466"/>
              <a:gd name="connsiteY4" fmla="*/ 0 h 1134533"/>
              <a:gd name="connsiteX0" fmla="*/ 1309325 w 6358466"/>
              <a:gd name="connsiteY0" fmla="*/ 0 h 1140883"/>
              <a:gd name="connsiteX1" fmla="*/ 5223933 w 6358466"/>
              <a:gd name="connsiteY1" fmla="*/ 635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7620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76200 h 1140883"/>
              <a:gd name="connsiteX0" fmla="*/ 1309325 w 6358466"/>
              <a:gd name="connsiteY0" fmla="*/ 0 h 1064683"/>
              <a:gd name="connsiteX1" fmla="*/ 1921518 w 6358466"/>
              <a:gd name="connsiteY1" fmla="*/ 0 h 1064683"/>
              <a:gd name="connsiteX2" fmla="*/ 6358466 w 6358466"/>
              <a:gd name="connsiteY2" fmla="*/ 1064683 h 1064683"/>
              <a:gd name="connsiteX3" fmla="*/ 0 w 6358466"/>
              <a:gd name="connsiteY3" fmla="*/ 1064683 h 1064683"/>
              <a:gd name="connsiteX4" fmla="*/ 1309325 w 6358466"/>
              <a:gd name="connsiteY4" fmla="*/ 0 h 1064683"/>
              <a:gd name="connsiteX0" fmla="*/ 1309325 w 1921518"/>
              <a:gd name="connsiteY0" fmla="*/ 0 h 1115483"/>
              <a:gd name="connsiteX1" fmla="*/ 1921518 w 1921518"/>
              <a:gd name="connsiteY1" fmla="*/ 0 h 1115483"/>
              <a:gd name="connsiteX2" fmla="*/ 1035298 w 1921518"/>
              <a:gd name="connsiteY2" fmla="*/ 1115483 h 1115483"/>
              <a:gd name="connsiteX3" fmla="*/ 0 w 1921518"/>
              <a:gd name="connsiteY3" fmla="*/ 1064683 h 1115483"/>
              <a:gd name="connsiteX4" fmla="*/ 1309325 w 1921518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02675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47106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869288 w 1481481"/>
              <a:gd name="connsiteY0" fmla="*/ 0 h 1115483"/>
              <a:gd name="connsiteX1" fmla="*/ 1481481 w 1481481"/>
              <a:gd name="connsiteY1" fmla="*/ 0 h 1115483"/>
              <a:gd name="connsiteX2" fmla="*/ 1039571 w 1481481"/>
              <a:gd name="connsiteY2" fmla="*/ 1115483 h 1115483"/>
              <a:gd name="connsiteX3" fmla="*/ 0 w 1481481"/>
              <a:gd name="connsiteY3" fmla="*/ 1115483 h 1115483"/>
              <a:gd name="connsiteX4" fmla="*/ 869288 w 1481481"/>
              <a:gd name="connsiteY4" fmla="*/ 0 h 1115483"/>
              <a:gd name="connsiteX0" fmla="*/ 1008135 w 1620328"/>
              <a:gd name="connsiteY0" fmla="*/ 0 h 1115483"/>
              <a:gd name="connsiteX1" fmla="*/ 1620328 w 1620328"/>
              <a:gd name="connsiteY1" fmla="*/ 0 h 1115483"/>
              <a:gd name="connsiteX2" fmla="*/ 1178418 w 1620328"/>
              <a:gd name="connsiteY2" fmla="*/ 1115483 h 1115483"/>
              <a:gd name="connsiteX3" fmla="*/ 0 w 1620328"/>
              <a:gd name="connsiteY3" fmla="*/ 1107016 h 1115483"/>
              <a:gd name="connsiteX4" fmla="*/ 1008135 w 1620328"/>
              <a:gd name="connsiteY4" fmla="*/ 0 h 1115483"/>
              <a:gd name="connsiteX0" fmla="*/ 1008135 w 1620328"/>
              <a:gd name="connsiteY0" fmla="*/ 0 h 1107016"/>
              <a:gd name="connsiteX1" fmla="*/ 1620328 w 1620328"/>
              <a:gd name="connsiteY1" fmla="*/ 0 h 1107016"/>
              <a:gd name="connsiteX2" fmla="*/ 1036011 w 1620328"/>
              <a:gd name="connsiteY2" fmla="*/ 1107016 h 1107016"/>
              <a:gd name="connsiteX3" fmla="*/ 0 w 1620328"/>
              <a:gd name="connsiteY3" fmla="*/ 1107016 h 1107016"/>
              <a:gd name="connsiteX4" fmla="*/ 1008135 w 1620328"/>
              <a:gd name="connsiteY4" fmla="*/ 0 h 1107016"/>
              <a:gd name="connsiteX0" fmla="*/ 1008135 w 1577606"/>
              <a:gd name="connsiteY0" fmla="*/ 4234 h 1111250"/>
              <a:gd name="connsiteX1" fmla="*/ 1577606 w 1577606"/>
              <a:gd name="connsiteY1" fmla="*/ 0 h 1111250"/>
              <a:gd name="connsiteX2" fmla="*/ 1036011 w 1577606"/>
              <a:gd name="connsiteY2" fmla="*/ 1111250 h 1111250"/>
              <a:gd name="connsiteX3" fmla="*/ 0 w 1577606"/>
              <a:gd name="connsiteY3" fmla="*/ 1111250 h 1111250"/>
              <a:gd name="connsiteX4" fmla="*/ 1008135 w 1577606"/>
              <a:gd name="connsiteY4" fmla="*/ 4234 h 1111250"/>
              <a:gd name="connsiteX0" fmla="*/ 1057977 w 1577606"/>
              <a:gd name="connsiteY0" fmla="*/ 4234 h 1111250"/>
              <a:gd name="connsiteX1" fmla="*/ 1577606 w 1577606"/>
              <a:gd name="connsiteY1" fmla="*/ 0 h 1111250"/>
              <a:gd name="connsiteX2" fmla="*/ 1036011 w 1577606"/>
              <a:gd name="connsiteY2" fmla="*/ 1111250 h 1111250"/>
              <a:gd name="connsiteX3" fmla="*/ 0 w 1577606"/>
              <a:gd name="connsiteY3" fmla="*/ 1111250 h 1111250"/>
              <a:gd name="connsiteX4" fmla="*/ 1057977 w 1577606"/>
              <a:gd name="connsiteY4" fmla="*/ 4234 h 111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7606" h="1111250">
                <a:moveTo>
                  <a:pt x="1057977" y="4234"/>
                </a:moveTo>
                <a:lnTo>
                  <a:pt x="1577606" y="0"/>
                </a:lnTo>
                <a:lnTo>
                  <a:pt x="1036011" y="1111250"/>
                </a:lnTo>
                <a:lnTo>
                  <a:pt x="0" y="1111250"/>
                </a:lnTo>
                <a:lnTo>
                  <a:pt x="1057977" y="4234"/>
                </a:lnTo>
                <a:close/>
              </a:path>
            </a:pathLst>
          </a:custGeom>
          <a:gradFill>
            <a:gsLst>
              <a:gs pos="0">
                <a:sysClr val="window" lastClr="FFFFFF">
                  <a:lumMod val="50000"/>
                </a:sysClr>
              </a:gs>
              <a:gs pos="100000">
                <a:sysClr val="window" lastClr="FFFFFF">
                  <a:lumMod val="95000"/>
                </a:sys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Freeform 68">
            <a:extLst>
              <a:ext uri="{FF2B5EF4-FFF2-40B4-BE49-F238E27FC236}">
                <a16:creationId xmlns:a16="http://schemas.microsoft.com/office/drawing/2014/main" id="{115FF344-ED9D-0811-D436-E111549E749C}"/>
              </a:ext>
            </a:extLst>
          </p:cNvPr>
          <p:cNvSpPr/>
          <p:nvPr/>
        </p:nvSpPr>
        <p:spPr>
          <a:xfrm>
            <a:off x="4270504" y="4344408"/>
            <a:ext cx="1679165" cy="909441"/>
          </a:xfrm>
          <a:custGeom>
            <a:avLst/>
            <a:gdLst>
              <a:gd name="connsiteX0" fmla="*/ 1058333 w 6358466"/>
              <a:gd name="connsiteY0" fmla="*/ 0 h 1134533"/>
              <a:gd name="connsiteX1" fmla="*/ 5223933 w 6358466"/>
              <a:gd name="connsiteY1" fmla="*/ 0 h 1134533"/>
              <a:gd name="connsiteX2" fmla="*/ 6358466 w 6358466"/>
              <a:gd name="connsiteY2" fmla="*/ 1134533 h 1134533"/>
              <a:gd name="connsiteX3" fmla="*/ 0 w 6358466"/>
              <a:gd name="connsiteY3" fmla="*/ 1134533 h 1134533"/>
              <a:gd name="connsiteX4" fmla="*/ 1058333 w 6358466"/>
              <a:gd name="connsiteY4" fmla="*/ 0 h 1134533"/>
              <a:gd name="connsiteX0" fmla="*/ 1309325 w 6358466"/>
              <a:gd name="connsiteY0" fmla="*/ 0 h 1140883"/>
              <a:gd name="connsiteX1" fmla="*/ 5223933 w 6358466"/>
              <a:gd name="connsiteY1" fmla="*/ 635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7620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76200 h 1140883"/>
              <a:gd name="connsiteX0" fmla="*/ 1309325 w 6358466"/>
              <a:gd name="connsiteY0" fmla="*/ 0 h 1064683"/>
              <a:gd name="connsiteX1" fmla="*/ 1921518 w 6358466"/>
              <a:gd name="connsiteY1" fmla="*/ 0 h 1064683"/>
              <a:gd name="connsiteX2" fmla="*/ 6358466 w 6358466"/>
              <a:gd name="connsiteY2" fmla="*/ 1064683 h 1064683"/>
              <a:gd name="connsiteX3" fmla="*/ 0 w 6358466"/>
              <a:gd name="connsiteY3" fmla="*/ 1064683 h 1064683"/>
              <a:gd name="connsiteX4" fmla="*/ 1309325 w 6358466"/>
              <a:gd name="connsiteY4" fmla="*/ 0 h 1064683"/>
              <a:gd name="connsiteX0" fmla="*/ 1309325 w 1921518"/>
              <a:gd name="connsiteY0" fmla="*/ 0 h 1115483"/>
              <a:gd name="connsiteX1" fmla="*/ 1921518 w 1921518"/>
              <a:gd name="connsiteY1" fmla="*/ 0 h 1115483"/>
              <a:gd name="connsiteX2" fmla="*/ 1035298 w 1921518"/>
              <a:gd name="connsiteY2" fmla="*/ 1115483 h 1115483"/>
              <a:gd name="connsiteX3" fmla="*/ 0 w 1921518"/>
              <a:gd name="connsiteY3" fmla="*/ 1064683 h 1115483"/>
              <a:gd name="connsiteX4" fmla="*/ 1309325 w 1921518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02675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47106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869288 w 1481481"/>
              <a:gd name="connsiteY0" fmla="*/ 0 h 1115483"/>
              <a:gd name="connsiteX1" fmla="*/ 1481481 w 1481481"/>
              <a:gd name="connsiteY1" fmla="*/ 0 h 1115483"/>
              <a:gd name="connsiteX2" fmla="*/ 1039571 w 1481481"/>
              <a:gd name="connsiteY2" fmla="*/ 1115483 h 1115483"/>
              <a:gd name="connsiteX3" fmla="*/ 0 w 1481481"/>
              <a:gd name="connsiteY3" fmla="*/ 1115483 h 1115483"/>
              <a:gd name="connsiteX4" fmla="*/ 869288 w 1481481"/>
              <a:gd name="connsiteY4" fmla="*/ 0 h 1115483"/>
              <a:gd name="connsiteX0" fmla="*/ 869288 w 1481481"/>
              <a:gd name="connsiteY0" fmla="*/ 0 h 1115483"/>
              <a:gd name="connsiteX1" fmla="*/ 1481481 w 1481481"/>
              <a:gd name="connsiteY1" fmla="*/ 0 h 1115483"/>
              <a:gd name="connsiteX2" fmla="*/ 1471064 w 1481481"/>
              <a:gd name="connsiteY2" fmla="*/ 1115483 h 1115483"/>
              <a:gd name="connsiteX3" fmla="*/ 0 w 1481481"/>
              <a:gd name="connsiteY3" fmla="*/ 1115483 h 1115483"/>
              <a:gd name="connsiteX4" fmla="*/ 869288 w 1481481"/>
              <a:gd name="connsiteY4" fmla="*/ 0 h 1115483"/>
              <a:gd name="connsiteX0" fmla="*/ 442067 w 1054260"/>
              <a:gd name="connsiteY0" fmla="*/ 0 h 1115483"/>
              <a:gd name="connsiteX1" fmla="*/ 1054260 w 1054260"/>
              <a:gd name="connsiteY1" fmla="*/ 0 h 1115483"/>
              <a:gd name="connsiteX2" fmla="*/ 1043843 w 1054260"/>
              <a:gd name="connsiteY2" fmla="*/ 1115483 h 1115483"/>
              <a:gd name="connsiteX3" fmla="*/ 0 w 1054260"/>
              <a:gd name="connsiteY3" fmla="*/ 1115483 h 1115483"/>
              <a:gd name="connsiteX4" fmla="*/ 442067 w 1054260"/>
              <a:gd name="connsiteY4" fmla="*/ 0 h 1115483"/>
              <a:gd name="connsiteX0" fmla="*/ 481229 w 1093422"/>
              <a:gd name="connsiteY0" fmla="*/ 0 h 1119717"/>
              <a:gd name="connsiteX1" fmla="*/ 1093422 w 1093422"/>
              <a:gd name="connsiteY1" fmla="*/ 0 h 1119717"/>
              <a:gd name="connsiteX2" fmla="*/ 1083005 w 1093422"/>
              <a:gd name="connsiteY2" fmla="*/ 1115483 h 1119717"/>
              <a:gd name="connsiteX3" fmla="*/ 0 w 1093422"/>
              <a:gd name="connsiteY3" fmla="*/ 1119717 h 1119717"/>
              <a:gd name="connsiteX4" fmla="*/ 481229 w 1093422"/>
              <a:gd name="connsiteY4" fmla="*/ 0 h 1119717"/>
              <a:gd name="connsiteX0" fmla="*/ 531072 w 1093422"/>
              <a:gd name="connsiteY0" fmla="*/ 8467 h 1119717"/>
              <a:gd name="connsiteX1" fmla="*/ 1093422 w 1093422"/>
              <a:gd name="connsiteY1" fmla="*/ 0 h 1119717"/>
              <a:gd name="connsiteX2" fmla="*/ 1083005 w 1093422"/>
              <a:gd name="connsiteY2" fmla="*/ 1115483 h 1119717"/>
              <a:gd name="connsiteX3" fmla="*/ 0 w 1093422"/>
              <a:gd name="connsiteY3" fmla="*/ 1119717 h 1119717"/>
              <a:gd name="connsiteX4" fmla="*/ 531072 w 1093422"/>
              <a:gd name="connsiteY4" fmla="*/ 8467 h 1119717"/>
              <a:gd name="connsiteX0" fmla="*/ 531072 w 1083157"/>
              <a:gd name="connsiteY0" fmla="*/ 0 h 1111250"/>
              <a:gd name="connsiteX1" fmla="*/ 1032900 w 1083157"/>
              <a:gd name="connsiteY1" fmla="*/ 0 h 1111250"/>
              <a:gd name="connsiteX2" fmla="*/ 1083005 w 1083157"/>
              <a:gd name="connsiteY2" fmla="*/ 1107016 h 1111250"/>
              <a:gd name="connsiteX3" fmla="*/ 0 w 1083157"/>
              <a:gd name="connsiteY3" fmla="*/ 1111250 h 1111250"/>
              <a:gd name="connsiteX4" fmla="*/ 531072 w 1083157"/>
              <a:gd name="connsiteY4" fmla="*/ 0 h 1111250"/>
              <a:gd name="connsiteX0" fmla="*/ 531072 w 1032900"/>
              <a:gd name="connsiteY0" fmla="*/ 0 h 1111250"/>
              <a:gd name="connsiteX1" fmla="*/ 1032900 w 1032900"/>
              <a:gd name="connsiteY1" fmla="*/ 0 h 1111250"/>
              <a:gd name="connsiteX2" fmla="*/ 1022482 w 1032900"/>
              <a:gd name="connsiteY2" fmla="*/ 1102783 h 1111250"/>
              <a:gd name="connsiteX3" fmla="*/ 0 w 1032900"/>
              <a:gd name="connsiteY3" fmla="*/ 1111250 h 1111250"/>
              <a:gd name="connsiteX4" fmla="*/ 531072 w 1032900"/>
              <a:gd name="connsiteY4" fmla="*/ 0 h 111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2900" h="1111250">
                <a:moveTo>
                  <a:pt x="531072" y="0"/>
                </a:moveTo>
                <a:lnTo>
                  <a:pt x="1032900" y="0"/>
                </a:lnTo>
                <a:cubicBezTo>
                  <a:pt x="1029428" y="371828"/>
                  <a:pt x="1025954" y="730955"/>
                  <a:pt x="1022482" y="1102783"/>
                </a:cubicBezTo>
                <a:lnTo>
                  <a:pt x="0" y="1111250"/>
                </a:lnTo>
                <a:lnTo>
                  <a:pt x="531072" y="0"/>
                </a:lnTo>
                <a:close/>
              </a:path>
            </a:pathLst>
          </a:custGeom>
          <a:gradFill>
            <a:gsLst>
              <a:gs pos="0">
                <a:sysClr val="window" lastClr="FFFFFF">
                  <a:lumMod val="50000"/>
                </a:sysClr>
              </a:gs>
              <a:gs pos="100000">
                <a:sysClr val="window" lastClr="FFFFFF">
                  <a:lumMod val="95000"/>
                </a:sys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9" name="Freeform 69">
            <a:extLst>
              <a:ext uri="{FF2B5EF4-FFF2-40B4-BE49-F238E27FC236}">
                <a16:creationId xmlns:a16="http://schemas.microsoft.com/office/drawing/2014/main" id="{5F08A2D3-3AB3-5608-6B70-75270D265658}"/>
              </a:ext>
            </a:extLst>
          </p:cNvPr>
          <p:cNvSpPr/>
          <p:nvPr/>
        </p:nvSpPr>
        <p:spPr>
          <a:xfrm flipH="1">
            <a:off x="8177824" y="4337478"/>
            <a:ext cx="3381903" cy="912905"/>
          </a:xfrm>
          <a:custGeom>
            <a:avLst/>
            <a:gdLst>
              <a:gd name="connsiteX0" fmla="*/ 1058333 w 6358466"/>
              <a:gd name="connsiteY0" fmla="*/ 0 h 1134533"/>
              <a:gd name="connsiteX1" fmla="*/ 5223933 w 6358466"/>
              <a:gd name="connsiteY1" fmla="*/ 0 h 1134533"/>
              <a:gd name="connsiteX2" fmla="*/ 6358466 w 6358466"/>
              <a:gd name="connsiteY2" fmla="*/ 1134533 h 1134533"/>
              <a:gd name="connsiteX3" fmla="*/ 0 w 6358466"/>
              <a:gd name="connsiteY3" fmla="*/ 1134533 h 1134533"/>
              <a:gd name="connsiteX4" fmla="*/ 1058333 w 6358466"/>
              <a:gd name="connsiteY4" fmla="*/ 0 h 1134533"/>
              <a:gd name="connsiteX0" fmla="*/ 1309325 w 6358466"/>
              <a:gd name="connsiteY0" fmla="*/ 0 h 1140883"/>
              <a:gd name="connsiteX1" fmla="*/ 5223933 w 6358466"/>
              <a:gd name="connsiteY1" fmla="*/ 635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7620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76200 h 1140883"/>
              <a:gd name="connsiteX0" fmla="*/ 1309325 w 6358466"/>
              <a:gd name="connsiteY0" fmla="*/ 0 h 1064683"/>
              <a:gd name="connsiteX1" fmla="*/ 1921518 w 6358466"/>
              <a:gd name="connsiteY1" fmla="*/ 0 h 1064683"/>
              <a:gd name="connsiteX2" fmla="*/ 6358466 w 6358466"/>
              <a:gd name="connsiteY2" fmla="*/ 1064683 h 1064683"/>
              <a:gd name="connsiteX3" fmla="*/ 0 w 6358466"/>
              <a:gd name="connsiteY3" fmla="*/ 1064683 h 1064683"/>
              <a:gd name="connsiteX4" fmla="*/ 1309325 w 6358466"/>
              <a:gd name="connsiteY4" fmla="*/ 0 h 1064683"/>
              <a:gd name="connsiteX0" fmla="*/ 1309325 w 1921518"/>
              <a:gd name="connsiteY0" fmla="*/ 0 h 1115483"/>
              <a:gd name="connsiteX1" fmla="*/ 1921518 w 1921518"/>
              <a:gd name="connsiteY1" fmla="*/ 0 h 1115483"/>
              <a:gd name="connsiteX2" fmla="*/ 1035298 w 1921518"/>
              <a:gd name="connsiteY2" fmla="*/ 1115483 h 1115483"/>
              <a:gd name="connsiteX3" fmla="*/ 0 w 1921518"/>
              <a:gd name="connsiteY3" fmla="*/ 1064683 h 1115483"/>
              <a:gd name="connsiteX4" fmla="*/ 1309325 w 1921518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02675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1525072 w 2137265"/>
              <a:gd name="connsiteY0" fmla="*/ 0 h 1115483"/>
              <a:gd name="connsiteX1" fmla="*/ 2137265 w 2137265"/>
              <a:gd name="connsiteY1" fmla="*/ 0 h 1115483"/>
              <a:gd name="connsiteX2" fmla="*/ 1251045 w 2137265"/>
              <a:gd name="connsiteY2" fmla="*/ 1115483 h 1115483"/>
              <a:gd name="connsiteX3" fmla="*/ 0 w 2137265"/>
              <a:gd name="connsiteY3" fmla="*/ 1115483 h 1115483"/>
              <a:gd name="connsiteX4" fmla="*/ 1525072 w 2137265"/>
              <a:gd name="connsiteY4" fmla="*/ 0 h 1115483"/>
              <a:gd name="connsiteX0" fmla="*/ 1525072 w 2137265"/>
              <a:gd name="connsiteY0" fmla="*/ 0 h 1115483"/>
              <a:gd name="connsiteX1" fmla="*/ 2137265 w 2137265"/>
              <a:gd name="connsiteY1" fmla="*/ 0 h 1115483"/>
              <a:gd name="connsiteX2" fmla="*/ 1030314 w 2137265"/>
              <a:gd name="connsiteY2" fmla="*/ 1111249 h 1115483"/>
              <a:gd name="connsiteX3" fmla="*/ 0 w 2137265"/>
              <a:gd name="connsiteY3" fmla="*/ 1115483 h 1115483"/>
              <a:gd name="connsiteX4" fmla="*/ 1525072 w 2137265"/>
              <a:gd name="connsiteY4" fmla="*/ 0 h 1115483"/>
              <a:gd name="connsiteX0" fmla="*/ 1589155 w 2137265"/>
              <a:gd name="connsiteY0" fmla="*/ 0 h 1115483"/>
              <a:gd name="connsiteX1" fmla="*/ 2137265 w 2137265"/>
              <a:gd name="connsiteY1" fmla="*/ 0 h 1115483"/>
              <a:gd name="connsiteX2" fmla="*/ 1030314 w 2137265"/>
              <a:gd name="connsiteY2" fmla="*/ 1111249 h 1115483"/>
              <a:gd name="connsiteX3" fmla="*/ 0 w 2137265"/>
              <a:gd name="connsiteY3" fmla="*/ 1115483 h 1115483"/>
              <a:gd name="connsiteX4" fmla="*/ 1589155 w 2137265"/>
              <a:gd name="connsiteY4" fmla="*/ 0 h 1115483"/>
              <a:gd name="connsiteX0" fmla="*/ 1589155 w 2080302"/>
              <a:gd name="connsiteY0" fmla="*/ 0 h 1115483"/>
              <a:gd name="connsiteX1" fmla="*/ 2080302 w 2080302"/>
              <a:gd name="connsiteY1" fmla="*/ 4233 h 1115483"/>
              <a:gd name="connsiteX2" fmla="*/ 1030314 w 2080302"/>
              <a:gd name="connsiteY2" fmla="*/ 1111249 h 1115483"/>
              <a:gd name="connsiteX3" fmla="*/ 0 w 2080302"/>
              <a:gd name="connsiteY3" fmla="*/ 1115483 h 1115483"/>
              <a:gd name="connsiteX4" fmla="*/ 1589155 w 2080302"/>
              <a:gd name="connsiteY4" fmla="*/ 0 h 1115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0302" h="1115483">
                <a:moveTo>
                  <a:pt x="1589155" y="0"/>
                </a:moveTo>
                <a:lnTo>
                  <a:pt x="2080302" y="4233"/>
                </a:lnTo>
                <a:lnTo>
                  <a:pt x="1030314" y="1111249"/>
                </a:lnTo>
                <a:lnTo>
                  <a:pt x="0" y="1115483"/>
                </a:lnTo>
                <a:lnTo>
                  <a:pt x="1589155" y="0"/>
                </a:lnTo>
                <a:close/>
              </a:path>
            </a:pathLst>
          </a:custGeom>
          <a:gradFill>
            <a:gsLst>
              <a:gs pos="0">
                <a:sysClr val="window" lastClr="FFFFFF">
                  <a:lumMod val="50000"/>
                </a:sysClr>
              </a:gs>
              <a:gs pos="100000">
                <a:sysClr val="window" lastClr="FFFFFF">
                  <a:lumMod val="95000"/>
                </a:sys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0" name="Freeform 70">
            <a:extLst>
              <a:ext uri="{FF2B5EF4-FFF2-40B4-BE49-F238E27FC236}">
                <a16:creationId xmlns:a16="http://schemas.microsoft.com/office/drawing/2014/main" id="{9247DCED-0120-B744-9716-01D34D632EAE}"/>
              </a:ext>
            </a:extLst>
          </p:cNvPr>
          <p:cNvSpPr/>
          <p:nvPr/>
        </p:nvSpPr>
        <p:spPr>
          <a:xfrm flipH="1">
            <a:off x="7139792" y="4334012"/>
            <a:ext cx="2564681" cy="909441"/>
          </a:xfrm>
          <a:custGeom>
            <a:avLst/>
            <a:gdLst>
              <a:gd name="connsiteX0" fmla="*/ 1058333 w 6358466"/>
              <a:gd name="connsiteY0" fmla="*/ 0 h 1134533"/>
              <a:gd name="connsiteX1" fmla="*/ 5223933 w 6358466"/>
              <a:gd name="connsiteY1" fmla="*/ 0 h 1134533"/>
              <a:gd name="connsiteX2" fmla="*/ 6358466 w 6358466"/>
              <a:gd name="connsiteY2" fmla="*/ 1134533 h 1134533"/>
              <a:gd name="connsiteX3" fmla="*/ 0 w 6358466"/>
              <a:gd name="connsiteY3" fmla="*/ 1134533 h 1134533"/>
              <a:gd name="connsiteX4" fmla="*/ 1058333 w 6358466"/>
              <a:gd name="connsiteY4" fmla="*/ 0 h 1134533"/>
              <a:gd name="connsiteX0" fmla="*/ 1309325 w 6358466"/>
              <a:gd name="connsiteY0" fmla="*/ 0 h 1140883"/>
              <a:gd name="connsiteX1" fmla="*/ 5223933 w 6358466"/>
              <a:gd name="connsiteY1" fmla="*/ 635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7620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76200 h 1140883"/>
              <a:gd name="connsiteX0" fmla="*/ 1309325 w 6358466"/>
              <a:gd name="connsiteY0" fmla="*/ 0 h 1064683"/>
              <a:gd name="connsiteX1" fmla="*/ 1921518 w 6358466"/>
              <a:gd name="connsiteY1" fmla="*/ 0 h 1064683"/>
              <a:gd name="connsiteX2" fmla="*/ 6358466 w 6358466"/>
              <a:gd name="connsiteY2" fmla="*/ 1064683 h 1064683"/>
              <a:gd name="connsiteX3" fmla="*/ 0 w 6358466"/>
              <a:gd name="connsiteY3" fmla="*/ 1064683 h 1064683"/>
              <a:gd name="connsiteX4" fmla="*/ 1309325 w 6358466"/>
              <a:gd name="connsiteY4" fmla="*/ 0 h 1064683"/>
              <a:gd name="connsiteX0" fmla="*/ 1309325 w 1921518"/>
              <a:gd name="connsiteY0" fmla="*/ 0 h 1115483"/>
              <a:gd name="connsiteX1" fmla="*/ 1921518 w 1921518"/>
              <a:gd name="connsiteY1" fmla="*/ 0 h 1115483"/>
              <a:gd name="connsiteX2" fmla="*/ 1035298 w 1921518"/>
              <a:gd name="connsiteY2" fmla="*/ 1115483 h 1115483"/>
              <a:gd name="connsiteX3" fmla="*/ 0 w 1921518"/>
              <a:gd name="connsiteY3" fmla="*/ 1064683 h 1115483"/>
              <a:gd name="connsiteX4" fmla="*/ 1309325 w 1921518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02675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47106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869288 w 1481481"/>
              <a:gd name="connsiteY0" fmla="*/ 0 h 1115483"/>
              <a:gd name="connsiteX1" fmla="*/ 1481481 w 1481481"/>
              <a:gd name="connsiteY1" fmla="*/ 0 h 1115483"/>
              <a:gd name="connsiteX2" fmla="*/ 1039571 w 1481481"/>
              <a:gd name="connsiteY2" fmla="*/ 1115483 h 1115483"/>
              <a:gd name="connsiteX3" fmla="*/ 0 w 1481481"/>
              <a:gd name="connsiteY3" fmla="*/ 1115483 h 1115483"/>
              <a:gd name="connsiteX4" fmla="*/ 869288 w 1481481"/>
              <a:gd name="connsiteY4" fmla="*/ 0 h 1115483"/>
              <a:gd name="connsiteX0" fmla="*/ 1008135 w 1620328"/>
              <a:gd name="connsiteY0" fmla="*/ 0 h 1115483"/>
              <a:gd name="connsiteX1" fmla="*/ 1620328 w 1620328"/>
              <a:gd name="connsiteY1" fmla="*/ 0 h 1115483"/>
              <a:gd name="connsiteX2" fmla="*/ 1178418 w 1620328"/>
              <a:gd name="connsiteY2" fmla="*/ 1115483 h 1115483"/>
              <a:gd name="connsiteX3" fmla="*/ 0 w 1620328"/>
              <a:gd name="connsiteY3" fmla="*/ 1107016 h 1115483"/>
              <a:gd name="connsiteX4" fmla="*/ 1008135 w 1620328"/>
              <a:gd name="connsiteY4" fmla="*/ 0 h 1115483"/>
              <a:gd name="connsiteX0" fmla="*/ 1008135 w 1620328"/>
              <a:gd name="connsiteY0" fmla="*/ 0 h 1107016"/>
              <a:gd name="connsiteX1" fmla="*/ 1620328 w 1620328"/>
              <a:gd name="connsiteY1" fmla="*/ 0 h 1107016"/>
              <a:gd name="connsiteX2" fmla="*/ 1036011 w 1620328"/>
              <a:gd name="connsiteY2" fmla="*/ 1107016 h 1107016"/>
              <a:gd name="connsiteX3" fmla="*/ 0 w 1620328"/>
              <a:gd name="connsiteY3" fmla="*/ 1107016 h 1107016"/>
              <a:gd name="connsiteX4" fmla="*/ 1008135 w 1620328"/>
              <a:gd name="connsiteY4" fmla="*/ 0 h 1107016"/>
              <a:gd name="connsiteX0" fmla="*/ 1008135 w 1577606"/>
              <a:gd name="connsiteY0" fmla="*/ 4234 h 1111250"/>
              <a:gd name="connsiteX1" fmla="*/ 1577606 w 1577606"/>
              <a:gd name="connsiteY1" fmla="*/ 0 h 1111250"/>
              <a:gd name="connsiteX2" fmla="*/ 1036011 w 1577606"/>
              <a:gd name="connsiteY2" fmla="*/ 1111250 h 1111250"/>
              <a:gd name="connsiteX3" fmla="*/ 0 w 1577606"/>
              <a:gd name="connsiteY3" fmla="*/ 1111250 h 1111250"/>
              <a:gd name="connsiteX4" fmla="*/ 1008135 w 1577606"/>
              <a:gd name="connsiteY4" fmla="*/ 4234 h 1111250"/>
              <a:gd name="connsiteX0" fmla="*/ 1057977 w 1577606"/>
              <a:gd name="connsiteY0" fmla="*/ 4234 h 1111250"/>
              <a:gd name="connsiteX1" fmla="*/ 1577606 w 1577606"/>
              <a:gd name="connsiteY1" fmla="*/ 0 h 1111250"/>
              <a:gd name="connsiteX2" fmla="*/ 1036011 w 1577606"/>
              <a:gd name="connsiteY2" fmla="*/ 1111250 h 1111250"/>
              <a:gd name="connsiteX3" fmla="*/ 0 w 1577606"/>
              <a:gd name="connsiteY3" fmla="*/ 1111250 h 1111250"/>
              <a:gd name="connsiteX4" fmla="*/ 1057977 w 1577606"/>
              <a:gd name="connsiteY4" fmla="*/ 4234 h 111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7606" h="1111250">
                <a:moveTo>
                  <a:pt x="1057977" y="4234"/>
                </a:moveTo>
                <a:lnTo>
                  <a:pt x="1577606" y="0"/>
                </a:lnTo>
                <a:lnTo>
                  <a:pt x="1036011" y="1111250"/>
                </a:lnTo>
                <a:lnTo>
                  <a:pt x="0" y="1111250"/>
                </a:lnTo>
                <a:lnTo>
                  <a:pt x="1057977" y="4234"/>
                </a:lnTo>
                <a:close/>
              </a:path>
            </a:pathLst>
          </a:custGeom>
          <a:gradFill>
            <a:gsLst>
              <a:gs pos="0">
                <a:sysClr val="window" lastClr="FFFFFF">
                  <a:lumMod val="50000"/>
                </a:sysClr>
              </a:gs>
              <a:gs pos="100000">
                <a:sysClr val="window" lastClr="FFFFFF">
                  <a:lumMod val="95000"/>
                </a:sys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1" name="Freeform 71">
            <a:extLst>
              <a:ext uri="{FF2B5EF4-FFF2-40B4-BE49-F238E27FC236}">
                <a16:creationId xmlns:a16="http://schemas.microsoft.com/office/drawing/2014/main" id="{9FAF97BB-1544-9B48-B774-A0D035FEDBA3}"/>
              </a:ext>
            </a:extLst>
          </p:cNvPr>
          <p:cNvSpPr/>
          <p:nvPr/>
        </p:nvSpPr>
        <p:spPr>
          <a:xfrm flipH="1">
            <a:off x="6141130" y="4344408"/>
            <a:ext cx="1679165" cy="909441"/>
          </a:xfrm>
          <a:custGeom>
            <a:avLst/>
            <a:gdLst>
              <a:gd name="connsiteX0" fmla="*/ 1058333 w 6358466"/>
              <a:gd name="connsiteY0" fmla="*/ 0 h 1134533"/>
              <a:gd name="connsiteX1" fmla="*/ 5223933 w 6358466"/>
              <a:gd name="connsiteY1" fmla="*/ 0 h 1134533"/>
              <a:gd name="connsiteX2" fmla="*/ 6358466 w 6358466"/>
              <a:gd name="connsiteY2" fmla="*/ 1134533 h 1134533"/>
              <a:gd name="connsiteX3" fmla="*/ 0 w 6358466"/>
              <a:gd name="connsiteY3" fmla="*/ 1134533 h 1134533"/>
              <a:gd name="connsiteX4" fmla="*/ 1058333 w 6358466"/>
              <a:gd name="connsiteY4" fmla="*/ 0 h 1134533"/>
              <a:gd name="connsiteX0" fmla="*/ 1309325 w 6358466"/>
              <a:gd name="connsiteY0" fmla="*/ 0 h 1140883"/>
              <a:gd name="connsiteX1" fmla="*/ 5223933 w 6358466"/>
              <a:gd name="connsiteY1" fmla="*/ 635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0 h 1140883"/>
              <a:gd name="connsiteX0" fmla="*/ 1309325 w 6358466"/>
              <a:gd name="connsiteY0" fmla="*/ 76200 h 1140883"/>
              <a:gd name="connsiteX1" fmla="*/ 5074406 w 6358466"/>
              <a:gd name="connsiteY1" fmla="*/ 0 h 1140883"/>
              <a:gd name="connsiteX2" fmla="*/ 6358466 w 6358466"/>
              <a:gd name="connsiteY2" fmla="*/ 1140883 h 1140883"/>
              <a:gd name="connsiteX3" fmla="*/ 0 w 6358466"/>
              <a:gd name="connsiteY3" fmla="*/ 1140883 h 1140883"/>
              <a:gd name="connsiteX4" fmla="*/ 1309325 w 6358466"/>
              <a:gd name="connsiteY4" fmla="*/ 76200 h 1140883"/>
              <a:gd name="connsiteX0" fmla="*/ 1309325 w 6358466"/>
              <a:gd name="connsiteY0" fmla="*/ 0 h 1064683"/>
              <a:gd name="connsiteX1" fmla="*/ 1921518 w 6358466"/>
              <a:gd name="connsiteY1" fmla="*/ 0 h 1064683"/>
              <a:gd name="connsiteX2" fmla="*/ 6358466 w 6358466"/>
              <a:gd name="connsiteY2" fmla="*/ 1064683 h 1064683"/>
              <a:gd name="connsiteX3" fmla="*/ 0 w 6358466"/>
              <a:gd name="connsiteY3" fmla="*/ 1064683 h 1064683"/>
              <a:gd name="connsiteX4" fmla="*/ 1309325 w 6358466"/>
              <a:gd name="connsiteY4" fmla="*/ 0 h 1064683"/>
              <a:gd name="connsiteX0" fmla="*/ 1309325 w 1921518"/>
              <a:gd name="connsiteY0" fmla="*/ 0 h 1115483"/>
              <a:gd name="connsiteX1" fmla="*/ 1921518 w 1921518"/>
              <a:gd name="connsiteY1" fmla="*/ 0 h 1115483"/>
              <a:gd name="connsiteX2" fmla="*/ 1035298 w 1921518"/>
              <a:gd name="connsiteY2" fmla="*/ 1115483 h 1115483"/>
              <a:gd name="connsiteX3" fmla="*/ 0 w 1921518"/>
              <a:gd name="connsiteY3" fmla="*/ 1064683 h 1115483"/>
              <a:gd name="connsiteX4" fmla="*/ 1309325 w 1921518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02675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1300781 w 1912974"/>
              <a:gd name="connsiteY0" fmla="*/ 0 h 1115483"/>
              <a:gd name="connsiteX1" fmla="*/ 1912974 w 1912974"/>
              <a:gd name="connsiteY1" fmla="*/ 0 h 1115483"/>
              <a:gd name="connsiteX2" fmla="*/ 1471064 w 1912974"/>
              <a:gd name="connsiteY2" fmla="*/ 1115483 h 1115483"/>
              <a:gd name="connsiteX3" fmla="*/ 0 w 1912974"/>
              <a:gd name="connsiteY3" fmla="*/ 1115483 h 1115483"/>
              <a:gd name="connsiteX4" fmla="*/ 1300781 w 1912974"/>
              <a:gd name="connsiteY4" fmla="*/ 0 h 1115483"/>
              <a:gd name="connsiteX0" fmla="*/ 869288 w 1481481"/>
              <a:gd name="connsiteY0" fmla="*/ 0 h 1115483"/>
              <a:gd name="connsiteX1" fmla="*/ 1481481 w 1481481"/>
              <a:gd name="connsiteY1" fmla="*/ 0 h 1115483"/>
              <a:gd name="connsiteX2" fmla="*/ 1039571 w 1481481"/>
              <a:gd name="connsiteY2" fmla="*/ 1115483 h 1115483"/>
              <a:gd name="connsiteX3" fmla="*/ 0 w 1481481"/>
              <a:gd name="connsiteY3" fmla="*/ 1115483 h 1115483"/>
              <a:gd name="connsiteX4" fmla="*/ 869288 w 1481481"/>
              <a:gd name="connsiteY4" fmla="*/ 0 h 1115483"/>
              <a:gd name="connsiteX0" fmla="*/ 869288 w 1481481"/>
              <a:gd name="connsiteY0" fmla="*/ 0 h 1115483"/>
              <a:gd name="connsiteX1" fmla="*/ 1481481 w 1481481"/>
              <a:gd name="connsiteY1" fmla="*/ 0 h 1115483"/>
              <a:gd name="connsiteX2" fmla="*/ 1471064 w 1481481"/>
              <a:gd name="connsiteY2" fmla="*/ 1115483 h 1115483"/>
              <a:gd name="connsiteX3" fmla="*/ 0 w 1481481"/>
              <a:gd name="connsiteY3" fmla="*/ 1115483 h 1115483"/>
              <a:gd name="connsiteX4" fmla="*/ 869288 w 1481481"/>
              <a:gd name="connsiteY4" fmla="*/ 0 h 1115483"/>
              <a:gd name="connsiteX0" fmla="*/ 442067 w 1054260"/>
              <a:gd name="connsiteY0" fmla="*/ 0 h 1115483"/>
              <a:gd name="connsiteX1" fmla="*/ 1054260 w 1054260"/>
              <a:gd name="connsiteY1" fmla="*/ 0 h 1115483"/>
              <a:gd name="connsiteX2" fmla="*/ 1043843 w 1054260"/>
              <a:gd name="connsiteY2" fmla="*/ 1115483 h 1115483"/>
              <a:gd name="connsiteX3" fmla="*/ 0 w 1054260"/>
              <a:gd name="connsiteY3" fmla="*/ 1115483 h 1115483"/>
              <a:gd name="connsiteX4" fmla="*/ 442067 w 1054260"/>
              <a:gd name="connsiteY4" fmla="*/ 0 h 1115483"/>
              <a:gd name="connsiteX0" fmla="*/ 481229 w 1093422"/>
              <a:gd name="connsiteY0" fmla="*/ 0 h 1119717"/>
              <a:gd name="connsiteX1" fmla="*/ 1093422 w 1093422"/>
              <a:gd name="connsiteY1" fmla="*/ 0 h 1119717"/>
              <a:gd name="connsiteX2" fmla="*/ 1083005 w 1093422"/>
              <a:gd name="connsiteY2" fmla="*/ 1115483 h 1119717"/>
              <a:gd name="connsiteX3" fmla="*/ 0 w 1093422"/>
              <a:gd name="connsiteY3" fmla="*/ 1119717 h 1119717"/>
              <a:gd name="connsiteX4" fmla="*/ 481229 w 1093422"/>
              <a:gd name="connsiteY4" fmla="*/ 0 h 1119717"/>
              <a:gd name="connsiteX0" fmla="*/ 531072 w 1093422"/>
              <a:gd name="connsiteY0" fmla="*/ 8467 h 1119717"/>
              <a:gd name="connsiteX1" fmla="*/ 1093422 w 1093422"/>
              <a:gd name="connsiteY1" fmla="*/ 0 h 1119717"/>
              <a:gd name="connsiteX2" fmla="*/ 1083005 w 1093422"/>
              <a:gd name="connsiteY2" fmla="*/ 1115483 h 1119717"/>
              <a:gd name="connsiteX3" fmla="*/ 0 w 1093422"/>
              <a:gd name="connsiteY3" fmla="*/ 1119717 h 1119717"/>
              <a:gd name="connsiteX4" fmla="*/ 531072 w 1093422"/>
              <a:gd name="connsiteY4" fmla="*/ 8467 h 1119717"/>
              <a:gd name="connsiteX0" fmla="*/ 531072 w 1083157"/>
              <a:gd name="connsiteY0" fmla="*/ 0 h 1111250"/>
              <a:gd name="connsiteX1" fmla="*/ 1032900 w 1083157"/>
              <a:gd name="connsiteY1" fmla="*/ 0 h 1111250"/>
              <a:gd name="connsiteX2" fmla="*/ 1083005 w 1083157"/>
              <a:gd name="connsiteY2" fmla="*/ 1107016 h 1111250"/>
              <a:gd name="connsiteX3" fmla="*/ 0 w 1083157"/>
              <a:gd name="connsiteY3" fmla="*/ 1111250 h 1111250"/>
              <a:gd name="connsiteX4" fmla="*/ 531072 w 1083157"/>
              <a:gd name="connsiteY4" fmla="*/ 0 h 1111250"/>
              <a:gd name="connsiteX0" fmla="*/ 531072 w 1032900"/>
              <a:gd name="connsiteY0" fmla="*/ 0 h 1111250"/>
              <a:gd name="connsiteX1" fmla="*/ 1032900 w 1032900"/>
              <a:gd name="connsiteY1" fmla="*/ 0 h 1111250"/>
              <a:gd name="connsiteX2" fmla="*/ 1022482 w 1032900"/>
              <a:gd name="connsiteY2" fmla="*/ 1102783 h 1111250"/>
              <a:gd name="connsiteX3" fmla="*/ 0 w 1032900"/>
              <a:gd name="connsiteY3" fmla="*/ 1111250 h 1111250"/>
              <a:gd name="connsiteX4" fmla="*/ 531072 w 1032900"/>
              <a:gd name="connsiteY4" fmla="*/ 0 h 111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2900" h="1111250">
                <a:moveTo>
                  <a:pt x="531072" y="0"/>
                </a:moveTo>
                <a:lnTo>
                  <a:pt x="1032900" y="0"/>
                </a:lnTo>
                <a:cubicBezTo>
                  <a:pt x="1029428" y="371828"/>
                  <a:pt x="1025954" y="730955"/>
                  <a:pt x="1022482" y="1102783"/>
                </a:cubicBezTo>
                <a:lnTo>
                  <a:pt x="0" y="1111250"/>
                </a:lnTo>
                <a:lnTo>
                  <a:pt x="531072" y="0"/>
                </a:lnTo>
                <a:close/>
              </a:path>
            </a:pathLst>
          </a:custGeom>
          <a:gradFill>
            <a:gsLst>
              <a:gs pos="0">
                <a:sysClr val="window" lastClr="FFFFFF">
                  <a:lumMod val="50000"/>
                </a:sysClr>
              </a:gs>
              <a:gs pos="100000">
                <a:sysClr val="window" lastClr="FFFFFF">
                  <a:lumMod val="95000"/>
                </a:sys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lIns="91370" tIns="45685" rIns="91370" bIns="45685" rtlCol="0" anchor="ctr"/>
          <a:lstStyle/>
          <a:p>
            <a:pPr marL="0" marR="0" lvl="0" indent="0" algn="ctr" defTabSz="913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3" name="Freeform 40">
            <a:extLst>
              <a:ext uri="{FF2B5EF4-FFF2-40B4-BE49-F238E27FC236}">
                <a16:creationId xmlns:a16="http://schemas.microsoft.com/office/drawing/2014/main" id="{342E2FDC-2EAF-591D-D8AC-B212A13F0166}"/>
              </a:ext>
            </a:extLst>
          </p:cNvPr>
          <p:cNvSpPr>
            <a:spLocks noEditPoints="1"/>
          </p:cNvSpPr>
          <p:nvPr/>
        </p:nvSpPr>
        <p:spPr bwMode="auto">
          <a:xfrm>
            <a:off x="4446979" y="2070461"/>
            <a:ext cx="367631" cy="36763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6" name="Freeform 49">
            <a:extLst>
              <a:ext uri="{FF2B5EF4-FFF2-40B4-BE49-F238E27FC236}">
                <a16:creationId xmlns:a16="http://schemas.microsoft.com/office/drawing/2014/main" id="{30B99EDF-64BA-6495-CF6D-2227EFC68FFA}"/>
              </a:ext>
            </a:extLst>
          </p:cNvPr>
          <p:cNvSpPr>
            <a:spLocks noEditPoints="1"/>
          </p:cNvSpPr>
          <p:nvPr/>
        </p:nvSpPr>
        <p:spPr bwMode="auto">
          <a:xfrm>
            <a:off x="5876455" y="1575021"/>
            <a:ext cx="367631" cy="36763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5" name="Freeform 802">
            <a:extLst>
              <a:ext uri="{FF2B5EF4-FFF2-40B4-BE49-F238E27FC236}">
                <a16:creationId xmlns:a16="http://schemas.microsoft.com/office/drawing/2014/main" id="{0A522A67-DB34-778F-7633-316F56A5BF13}"/>
              </a:ext>
            </a:extLst>
          </p:cNvPr>
          <p:cNvSpPr>
            <a:spLocks noEditPoints="1"/>
          </p:cNvSpPr>
          <p:nvPr/>
        </p:nvSpPr>
        <p:spPr bwMode="auto">
          <a:xfrm>
            <a:off x="7398628" y="2077760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490 h 512"/>
              <a:gd name="T12" fmla="*/ 21 w 512"/>
              <a:gd name="T13" fmla="*/ 256 h 512"/>
              <a:gd name="T14" fmla="*/ 256 w 512"/>
              <a:gd name="T15" fmla="*/ 21 h 512"/>
              <a:gd name="T16" fmla="*/ 490 w 512"/>
              <a:gd name="T17" fmla="*/ 256 h 512"/>
              <a:gd name="T18" fmla="*/ 256 w 512"/>
              <a:gd name="T19" fmla="*/ 49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490"/>
                </a:move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5" name="Graphic 4" descr="Group success with solid fill">
            <a:extLst>
              <a:ext uri="{FF2B5EF4-FFF2-40B4-BE49-F238E27FC236}">
                <a16:creationId xmlns:a16="http://schemas.microsoft.com/office/drawing/2014/main" id="{0E084E3A-AE9C-BCEE-2BC1-B52345433C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9341" y="2111136"/>
            <a:ext cx="302906" cy="302906"/>
          </a:xfrm>
          <a:prstGeom prst="rect">
            <a:avLst/>
          </a:prstGeom>
        </p:spPr>
      </p:pic>
      <p:pic>
        <p:nvPicPr>
          <p:cNvPr id="8" name="Graphic 7" descr="Meeting with solid fill">
            <a:extLst>
              <a:ext uri="{FF2B5EF4-FFF2-40B4-BE49-F238E27FC236}">
                <a16:creationId xmlns:a16="http://schemas.microsoft.com/office/drawing/2014/main" id="{B0645F4C-36D0-F459-98C3-8E2D9D1ACE9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08827" y="1601055"/>
            <a:ext cx="302906" cy="302906"/>
          </a:xfrm>
          <a:prstGeom prst="rect">
            <a:avLst/>
          </a:prstGeom>
        </p:spPr>
      </p:pic>
      <p:pic>
        <p:nvPicPr>
          <p:cNvPr id="34" name="Graphic 33" descr="Plant with solid fill">
            <a:extLst>
              <a:ext uri="{FF2B5EF4-FFF2-40B4-BE49-F238E27FC236}">
                <a16:creationId xmlns:a16="http://schemas.microsoft.com/office/drawing/2014/main" id="{C9F71971-7515-DF80-098E-3300EF26D88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26204" y="2099074"/>
            <a:ext cx="302906" cy="302906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0E83F8EE-7CEB-779D-7463-FAB2D5A79695}"/>
              </a:ext>
            </a:extLst>
          </p:cNvPr>
          <p:cNvGrpSpPr/>
          <p:nvPr/>
        </p:nvGrpSpPr>
        <p:grpSpPr>
          <a:xfrm>
            <a:off x="1232296" y="4591030"/>
            <a:ext cx="628743" cy="628743"/>
            <a:chOff x="1232296" y="3657256"/>
            <a:chExt cx="628743" cy="628743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9CFAEFD-2C79-D691-BA39-56D1D9A4E427}"/>
                </a:ext>
              </a:extLst>
            </p:cNvPr>
            <p:cNvSpPr/>
            <p:nvPr/>
          </p:nvSpPr>
          <p:spPr>
            <a:xfrm>
              <a:off x="1232296" y="3657256"/>
              <a:ext cx="628743" cy="628743"/>
            </a:xfrm>
            <a:prstGeom prst="ellips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phic 14" descr="Ribbon with solid fill">
              <a:extLst>
                <a:ext uri="{FF2B5EF4-FFF2-40B4-BE49-F238E27FC236}">
                  <a16:creationId xmlns:a16="http://schemas.microsoft.com/office/drawing/2014/main" id="{8E63F569-5336-B80E-062B-06A97C0F9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307462" y="3732422"/>
              <a:ext cx="478410" cy="478410"/>
            </a:xfrm>
            <a:prstGeom prst="rect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4D3F90E-FB63-B6BC-AA9E-68577F43944D}"/>
              </a:ext>
            </a:extLst>
          </p:cNvPr>
          <p:cNvGrpSpPr/>
          <p:nvPr/>
        </p:nvGrpSpPr>
        <p:grpSpPr>
          <a:xfrm>
            <a:off x="3022936" y="4594211"/>
            <a:ext cx="628743" cy="628743"/>
            <a:chOff x="2999891" y="3871270"/>
            <a:chExt cx="628743" cy="628743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9D38ED37-3B10-C491-95AD-FD37B0FEC1C1}"/>
                </a:ext>
              </a:extLst>
            </p:cNvPr>
            <p:cNvSpPr/>
            <p:nvPr/>
          </p:nvSpPr>
          <p:spPr>
            <a:xfrm>
              <a:off x="2999891" y="3871270"/>
              <a:ext cx="628743" cy="628743"/>
            </a:xfrm>
            <a:prstGeom prst="ellipse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18" name="Graphic 17" descr="Star with solid fill">
              <a:extLst>
                <a:ext uri="{FF2B5EF4-FFF2-40B4-BE49-F238E27FC236}">
                  <a16:creationId xmlns:a16="http://schemas.microsoft.com/office/drawing/2014/main" id="{F0FC9240-292A-4D40-AAE7-773BE5E92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075057" y="3946436"/>
              <a:ext cx="478410" cy="478410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27FAB0A-150E-D9D7-FCED-C109E8BF1CA2}"/>
              </a:ext>
            </a:extLst>
          </p:cNvPr>
          <p:cNvGrpSpPr/>
          <p:nvPr/>
        </p:nvGrpSpPr>
        <p:grpSpPr>
          <a:xfrm>
            <a:off x="4807052" y="4591029"/>
            <a:ext cx="628743" cy="628743"/>
            <a:chOff x="4807052" y="3854773"/>
            <a:chExt cx="628743" cy="628743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52C4990-0589-3272-96AD-509DCB2D5E92}"/>
                </a:ext>
              </a:extLst>
            </p:cNvPr>
            <p:cNvSpPr/>
            <p:nvPr/>
          </p:nvSpPr>
          <p:spPr>
            <a:xfrm>
              <a:off x="4807052" y="3854773"/>
              <a:ext cx="628743" cy="628743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20" name="Graphic 19" descr="Checklist with solid fill">
              <a:extLst>
                <a:ext uri="{FF2B5EF4-FFF2-40B4-BE49-F238E27FC236}">
                  <a16:creationId xmlns:a16="http://schemas.microsoft.com/office/drawing/2014/main" id="{F6BB9337-572E-E389-08BB-52EE142BE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882218" y="3929939"/>
              <a:ext cx="478410" cy="478410"/>
            </a:xfrm>
            <a:prstGeom prst="rect">
              <a:avLst/>
            </a:prstGeom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75B6A3D-D66A-2BF1-9F62-B97C940C4343}"/>
              </a:ext>
            </a:extLst>
          </p:cNvPr>
          <p:cNvGrpSpPr/>
          <p:nvPr/>
        </p:nvGrpSpPr>
        <p:grpSpPr>
          <a:xfrm>
            <a:off x="6698515" y="4589343"/>
            <a:ext cx="628743" cy="628743"/>
            <a:chOff x="6612253" y="3946854"/>
            <a:chExt cx="628743" cy="628743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A92917C-6F94-47E0-9357-E74081B5B9D4}"/>
                </a:ext>
              </a:extLst>
            </p:cNvPr>
            <p:cNvSpPr/>
            <p:nvPr/>
          </p:nvSpPr>
          <p:spPr>
            <a:xfrm>
              <a:off x="6612253" y="3946854"/>
              <a:ext cx="628743" cy="628743"/>
            </a:xfrm>
            <a:prstGeom prst="ellipse">
              <a:avLst/>
            </a:prstGeom>
            <a:solidFill>
              <a:schemeClr val="tx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22" name="Graphic 21" descr="Users with solid fill">
              <a:extLst>
                <a:ext uri="{FF2B5EF4-FFF2-40B4-BE49-F238E27FC236}">
                  <a16:creationId xmlns:a16="http://schemas.microsoft.com/office/drawing/2014/main" id="{AB15C73F-AAC5-45F3-A612-1B6483E8A5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687419" y="4022020"/>
              <a:ext cx="478410" cy="478410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F276A8B-38F9-FD6B-F267-D75A6AB4679A}"/>
              </a:ext>
            </a:extLst>
          </p:cNvPr>
          <p:cNvGrpSpPr/>
          <p:nvPr/>
        </p:nvGrpSpPr>
        <p:grpSpPr>
          <a:xfrm>
            <a:off x="8524007" y="4588009"/>
            <a:ext cx="628743" cy="628743"/>
            <a:chOff x="8543955" y="3935474"/>
            <a:chExt cx="628743" cy="628743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0E2AF7D-9EA2-5395-D5A9-DF1A2CD3E96A}"/>
                </a:ext>
              </a:extLst>
            </p:cNvPr>
            <p:cNvSpPr/>
            <p:nvPr/>
          </p:nvSpPr>
          <p:spPr>
            <a:xfrm>
              <a:off x="8543955" y="3935474"/>
              <a:ext cx="628743" cy="628743"/>
            </a:xfrm>
            <a:prstGeom prst="ellipse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24" name="Graphic 23" descr="Upward trend with solid fill">
              <a:extLst>
                <a:ext uri="{FF2B5EF4-FFF2-40B4-BE49-F238E27FC236}">
                  <a16:creationId xmlns:a16="http://schemas.microsoft.com/office/drawing/2014/main" id="{A5BC09D1-F24E-26DF-AB91-D7E4B289D5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619121" y="4010640"/>
              <a:ext cx="478410" cy="47841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B9F6717-AB0A-66B5-B23E-E8BD960728F0}"/>
              </a:ext>
            </a:extLst>
          </p:cNvPr>
          <p:cNvGrpSpPr/>
          <p:nvPr/>
        </p:nvGrpSpPr>
        <p:grpSpPr>
          <a:xfrm>
            <a:off x="10482758" y="4598526"/>
            <a:ext cx="628743" cy="628743"/>
            <a:chOff x="10482758" y="3947295"/>
            <a:chExt cx="628743" cy="628743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A9F74D2-23F3-EB53-83F6-860C15870585}"/>
                </a:ext>
              </a:extLst>
            </p:cNvPr>
            <p:cNvSpPr/>
            <p:nvPr/>
          </p:nvSpPr>
          <p:spPr>
            <a:xfrm>
              <a:off x="10482758" y="3947295"/>
              <a:ext cx="628743" cy="628743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11" name="Graphic 10" descr="Heart with solid fill">
              <a:extLst>
                <a:ext uri="{FF2B5EF4-FFF2-40B4-BE49-F238E27FC236}">
                  <a16:creationId xmlns:a16="http://schemas.microsoft.com/office/drawing/2014/main" id="{E86C6D8D-BB35-64E2-D399-D33AFD0628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0557924" y="4022461"/>
              <a:ext cx="478410" cy="4784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08537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3AECBD-4A38-0CE9-B7D9-9D7387E91A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94D973B-2D6B-70F5-2C48-EA06CB310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MEMBERSHIPS</a:t>
            </a:r>
            <a:endParaRPr lang="en-US" sz="4400" baseline="30000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E09A96F-D7D5-DD2F-E8B1-C736E955EB55}"/>
              </a:ext>
            </a:extLst>
          </p:cNvPr>
          <p:cNvSpPr/>
          <p:nvPr/>
        </p:nvSpPr>
        <p:spPr>
          <a:xfrm>
            <a:off x="6047455" y="3947998"/>
            <a:ext cx="2455919" cy="15249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4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0</a:t>
            </a:r>
          </a:p>
          <a:p>
            <a:pPr lvl="0" algn="ctr">
              <a:defRPr/>
            </a:pP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ce Memberships</a:t>
            </a:r>
            <a:r>
              <a:rPr lang="en-US" sz="1600" baseline="30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b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6C591-44BA-1FF4-A8B2-01E716416D14}"/>
              </a:ext>
            </a:extLst>
          </p:cNvPr>
          <p:cNvSpPr/>
          <p:nvPr/>
        </p:nvSpPr>
        <p:spPr>
          <a:xfrm>
            <a:off x="8689532" y="2132587"/>
            <a:ext cx="2455919" cy="152495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0" algn="ctr">
              <a:defRPr/>
            </a:pPr>
            <a:r>
              <a:rPr lang="en-US" sz="4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93,149</a:t>
            </a:r>
          </a:p>
          <a:p>
            <a:pPr lvl="0" algn="ctr">
              <a:defRPr/>
            </a:pPr>
            <a:r>
              <a:rPr lang="en-US" sz="1600" dirty="0">
                <a:solidFill>
                  <a:prstClr val="white"/>
                </a:solidFill>
                <a:latin typeface="Arial"/>
                <a:cs typeface="Arial"/>
              </a:rPr>
              <a:t>Memberships Sales</a:t>
            </a:r>
            <a:r>
              <a:rPr lang="en-US" sz="1600" baseline="30000" dirty="0">
                <a:solidFill>
                  <a:prstClr val="white"/>
                </a:solidFill>
                <a:latin typeface="Arial"/>
                <a:cs typeface="Arial"/>
              </a:rPr>
              <a:t>1,2</a:t>
            </a:r>
            <a:endParaRPr lang="en-US" sz="1600" baseline="30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E48D9B-2B0B-ACDA-5F56-144C53DEC424}"/>
              </a:ext>
            </a:extLst>
          </p:cNvPr>
          <p:cNvSpPr/>
          <p:nvPr/>
        </p:nvSpPr>
        <p:spPr>
          <a:xfrm>
            <a:off x="6047454" y="2128607"/>
            <a:ext cx="2455919" cy="15249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35</a:t>
            </a:r>
            <a:b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TD Memberships</a:t>
            </a:r>
            <a:r>
              <a:rPr lang="en-US" sz="1600" baseline="30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1F0001B-439D-5734-78D2-9F0FCE448594}"/>
              </a:ext>
            </a:extLst>
          </p:cNvPr>
          <p:cNvSpPr/>
          <p:nvPr/>
        </p:nvSpPr>
        <p:spPr>
          <a:xfrm>
            <a:off x="8689532" y="3949349"/>
            <a:ext cx="2455919" cy="152495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0" algn="ctr">
              <a:defRPr/>
            </a:pPr>
            <a:r>
              <a:rPr lang="en-US" sz="4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5</a:t>
            </a:r>
          </a:p>
          <a:p>
            <a:pPr lvl="0" algn="ctr">
              <a:defRPr/>
            </a:pP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Race Memberships</a:t>
            </a:r>
            <a:r>
              <a:rPr lang="en-US" sz="1600" baseline="30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5618DCE-EEEE-0444-A14B-EF2417A5DD59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35901B65-ACF3-E7A1-C411-E390C4343C36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82B5D368-79B3-152C-FB2A-EEA574E76539}"/>
                </a:ext>
              </a:extLst>
            </p:cNvPr>
            <p:cNvSpPr/>
            <p:nvPr/>
          </p:nvSpPr>
          <p:spPr>
            <a:xfrm>
              <a:off x="6971000" y="2206367"/>
              <a:ext cx="2314016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YoY Membership Summar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5F5D0F6-94B7-20D4-4237-48B6BDA5CEB0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9D6DD0C2-90B3-3DDB-1A46-F0FAB07B55CE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7F0B8DC2-A304-5F54-6B9A-6EEDB893EA11}"/>
                </a:ext>
              </a:extLst>
            </p:cNvPr>
            <p:cNvSpPr/>
            <p:nvPr/>
          </p:nvSpPr>
          <p:spPr>
            <a:xfrm>
              <a:off x="2115872" y="2206367"/>
              <a:ext cx="1495984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-Year Memberships Trend</a:t>
              </a:r>
            </a:p>
          </p:txBody>
        </p:sp>
      </p:grp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5C40D557-249A-7697-F588-B9BDEA74C398}"/>
              </a:ext>
            </a:extLst>
          </p:cNvPr>
          <p:cNvSpPr txBox="1">
            <a:spLocks/>
          </p:cNvSpPr>
          <p:nvPr/>
        </p:nvSpPr>
        <p:spPr>
          <a:xfrm>
            <a:off x="496312" y="5547150"/>
            <a:ext cx="11244584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 sz="9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9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8654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Courier New" pitchFamily="49" charset="0"/>
              <a:buChar char="o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31538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4423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Note 1: Membership sales include Club Affiliation Fees and Membership Licenses for the current fiscal. </a:t>
            </a:r>
          </a:p>
          <a:p>
            <a:r>
              <a:rPr lang="en-US" dirty="0">
                <a:solidFill>
                  <a:schemeClr val="tx1"/>
                </a:solidFill>
              </a:rPr>
              <a:t>Note 2: Memberships operate on a calendar year basis (Jan – Dec)</a:t>
            </a:r>
          </a:p>
          <a:p>
            <a:r>
              <a:rPr lang="en-US" dirty="0">
                <a:solidFill>
                  <a:schemeClr val="tx1"/>
                </a:solidFill>
              </a:rPr>
              <a:t>Note 3: Above numbers exclude HopOn memberships, Day permits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8D3D6B9-A6C8-5005-45D0-9C8E497E07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590490"/>
              </p:ext>
            </p:extLst>
          </p:nvPr>
        </p:nvGraphicFramePr>
        <p:xfrm>
          <a:off x="830425" y="2057400"/>
          <a:ext cx="4925147" cy="33974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720623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03B0D-0357-C0C2-4729-DBE1451675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A05F65A1-5B5B-D6F7-934D-055CD61C7BBF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84773427"/>
              </p:ext>
            </p:extLst>
          </p:nvPr>
        </p:nvGraphicFramePr>
        <p:xfrm>
          <a:off x="658905" y="2111188"/>
          <a:ext cx="5269647" cy="36762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42213">
                  <a:extLst>
                    <a:ext uri="{9D8B030D-6E8A-4147-A177-3AD203B41FA5}">
                      <a16:colId xmlns:a16="http://schemas.microsoft.com/office/drawing/2014/main" val="1463849886"/>
                    </a:ext>
                  </a:extLst>
                </a:gridCol>
                <a:gridCol w="1527434">
                  <a:extLst>
                    <a:ext uri="{9D8B030D-6E8A-4147-A177-3AD203B41FA5}">
                      <a16:colId xmlns:a16="http://schemas.microsoft.com/office/drawing/2014/main" val="3562530418"/>
                    </a:ext>
                  </a:extLst>
                </a:gridCol>
              </a:tblGrid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b="1" u="none" strike="noStrike" dirty="0">
                          <a:effectLst/>
                        </a:rPr>
                        <a:t>License Types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b="1" u="none" strike="noStrike" dirty="0">
                          <a:effectLst/>
                        </a:rPr>
                        <a:t>2026 Fees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22479949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Race - UCI (International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105-$14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52793979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Race - Provincial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80-$110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18235816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 dirty="0">
                          <a:effectLst/>
                        </a:rPr>
                        <a:t>Kids of Mud (permits racing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70-$80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20703491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General (non-race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70-$80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34360138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Winter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25-$3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46928635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(New 2025) Commuter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15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16226369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(New 2025) Charity Ride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3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09711160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Day Permits 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3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29034941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echnical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$0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63911795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 dirty="0">
                          <a:effectLst/>
                        </a:rPr>
                        <a:t>Optional Sport Accident (unsanctioned training on own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75778450"/>
                  </a:ext>
                </a:extLst>
              </a:tr>
              <a:tr h="30635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 dirty="0">
                          <a:effectLst/>
                        </a:rPr>
                        <a:t>Optional Sport Accident (Anytime on bike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1100" u="none" strike="noStrike" dirty="0">
                          <a:effectLst/>
                        </a:rPr>
                        <a:t>$10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76597987"/>
                  </a:ext>
                </a:extLst>
              </a:tr>
            </a:tbl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497282-97AE-9B12-2B91-5B6BBE440B6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40714" y="6094005"/>
            <a:ext cx="11114320" cy="150875"/>
          </a:xfrm>
        </p:spPr>
        <p:txBody>
          <a:bodyPr/>
          <a:lstStyle/>
          <a:p>
            <a:r>
              <a:rPr lang="en-US" dirty="0"/>
              <a:t>CCN: Cycling component network</a:t>
            </a:r>
            <a:endParaRPr lang="en-CA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18B906E-3722-E782-396D-CA8772B06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Membership</a:t>
            </a:r>
            <a:endParaRPr lang="en-US" sz="4400" baseline="30000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2ECE385-5A36-61CD-7930-CA34B9312FE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CA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B72E1ED-D6D0-0428-11F1-9F752C7327F8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FFBE16B0-0F0B-1E8D-27AD-A17EB143710C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2F8D9CC4-2262-C353-F78F-199EB7DAFE3B}"/>
                </a:ext>
              </a:extLst>
            </p:cNvPr>
            <p:cNvSpPr/>
            <p:nvPr/>
          </p:nvSpPr>
          <p:spPr>
            <a:xfrm>
              <a:off x="7030926" y="2206367"/>
              <a:ext cx="2194176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2025 Membership Types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A2BB3E5-64B8-55DC-4F58-22C8DAEA53B8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81FB59EE-A046-EE53-99E4-D8224F2D9CB3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519EB4BC-641E-57B7-6A59-36F484F4DD27}"/>
                </a:ext>
              </a:extLst>
            </p:cNvPr>
            <p:cNvSpPr/>
            <p:nvPr/>
          </p:nvSpPr>
          <p:spPr>
            <a:xfrm>
              <a:off x="2277088" y="2206367"/>
              <a:ext cx="1173559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icense Types + Fees</a:t>
              </a:r>
            </a:p>
          </p:txBody>
        </p:sp>
      </p:grp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FBC9F845-0C57-86DB-342D-C97D213FDCAB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809048154"/>
              </p:ext>
            </p:extLst>
          </p:nvPr>
        </p:nvGraphicFramePr>
        <p:xfrm>
          <a:off x="6386513" y="2123872"/>
          <a:ext cx="5268912" cy="3941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865459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827745-7BFA-AAFB-42FD-4C9B3C48C6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65CF56C-D9B0-E386-C58A-CF960F8449B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S</a:t>
            </a:r>
          </a:p>
        </p:txBody>
      </p:sp>
    </p:spTree>
    <p:extLst>
      <p:ext uri="{BB962C8B-B14F-4D97-AF65-F5344CB8AC3E}">
        <p14:creationId xmlns:p14="http://schemas.microsoft.com/office/powerpoint/2010/main" val="25427103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-818001"/>
            <a:ext cx="11122146" cy="2409057"/>
          </a:xfrm>
        </p:spPr>
        <p:txBody>
          <a:bodyPr/>
          <a:lstStyle/>
          <a:p>
            <a:br>
              <a:rPr lang="en-US" sz="4400" dirty="0"/>
            </a:br>
            <a:br>
              <a:rPr lang="en-US" sz="4400" dirty="0"/>
            </a:br>
            <a:r>
              <a:rPr lang="en-US" sz="4400" dirty="0"/>
              <a:t>Sport Initiation - </a:t>
            </a:r>
            <a:r>
              <a:rPr lang="en-US" sz="4400" i="1" dirty="0"/>
              <a:t>Kids of Mud Program</a:t>
            </a:r>
            <a:endParaRPr lang="en-US" sz="1400" i="1" dirty="0">
              <a:highlight>
                <a:srgbClr val="FFFF00"/>
              </a:highligh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97AEC7C-E53C-F754-642A-BA5E1F6F8ECC}"/>
              </a:ext>
            </a:extLst>
          </p:cNvPr>
          <p:cNvSpPr/>
          <p:nvPr/>
        </p:nvSpPr>
        <p:spPr>
          <a:xfrm>
            <a:off x="6121148" y="3737685"/>
            <a:ext cx="2684525" cy="152349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Coach Learning Facilitator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Coach Developer   </a:t>
            </a:r>
          </a:p>
          <a:p>
            <a:pPr lvl="0" algn="ctr">
              <a:defRPr/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Clubs</a:t>
            </a:r>
          </a:p>
          <a:p>
            <a:pPr lvl="0" algn="ctr">
              <a:defRPr/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HopOn registrants</a:t>
            </a:r>
          </a:p>
          <a:p>
            <a:pPr lvl="0" algn="ctr">
              <a:defRPr/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 Community Coaches</a:t>
            </a:r>
          </a:p>
          <a:p>
            <a:pPr lvl="0" algn="ctr">
              <a:defRPr/>
            </a:pPr>
            <a:endParaRPr lang="en-US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B27175-31A5-BC9E-8AF4-59569113ABFE}"/>
              </a:ext>
            </a:extLst>
          </p:cNvPr>
          <p:cNvSpPr/>
          <p:nvPr/>
        </p:nvSpPr>
        <p:spPr>
          <a:xfrm>
            <a:off x="6104501" y="2135833"/>
            <a:ext cx="2701172" cy="14902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2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 Program Athlet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DDFAA-55B7-53CB-D72B-7BCDEB139D18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A6CFAD00-86C0-361C-76A2-A53E5C9544E6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DEA3A3FA-0489-F0C1-B36D-7C10342AD292}"/>
                </a:ext>
              </a:extLst>
            </p:cNvPr>
            <p:cNvSpPr/>
            <p:nvPr/>
          </p:nvSpPr>
          <p:spPr>
            <a:xfrm>
              <a:off x="7053642" y="2206367"/>
              <a:ext cx="2148741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YoY Grassroots Summar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FFF7DDF-3172-1A6E-8F2E-BE893292F001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BA0DF6BE-3091-4ACE-1382-A355B9D44C71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D69990C4-B630-6B68-165A-3D9EBC0E6F11}"/>
                </a:ext>
              </a:extLst>
            </p:cNvPr>
            <p:cNvSpPr/>
            <p:nvPr/>
          </p:nvSpPr>
          <p:spPr>
            <a:xfrm>
              <a:off x="1931724" y="2206367"/>
              <a:ext cx="1864295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-Year KOM ‘Athlete’ Participation</a:t>
              </a:r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75EDC33-84BB-F6A8-5D67-0BB2F1AD23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6353051"/>
              </p:ext>
            </p:extLst>
          </p:nvPr>
        </p:nvGraphicFramePr>
        <p:xfrm>
          <a:off x="830423" y="2128607"/>
          <a:ext cx="4925147" cy="3344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F266338-36D0-C93F-8EEA-E77F0F079D2E}"/>
              </a:ext>
            </a:extLst>
          </p:cNvPr>
          <p:cNvSpPr txBox="1">
            <a:spLocks/>
          </p:cNvSpPr>
          <p:nvPr/>
        </p:nvSpPr>
        <p:spPr>
          <a:xfrm>
            <a:off x="484632" y="5001768"/>
            <a:ext cx="11576304" cy="152349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 sz="9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9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8654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Courier New" pitchFamily="49" charset="0"/>
              <a:buChar char="o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31538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4423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Note 1: Youth Development Coordinator: Stephanie Keith </a:t>
            </a:r>
          </a:p>
          <a:p>
            <a:r>
              <a:rPr lang="en-US" dirty="0">
                <a:solidFill>
                  <a:schemeClr val="tx1"/>
                </a:solidFill>
              </a:rPr>
              <a:t>Note 2: 2025 season: Seven (7) Kids of Mud Clubs</a:t>
            </a:r>
          </a:p>
          <a:p>
            <a:r>
              <a:rPr lang="en-US" dirty="0">
                <a:solidFill>
                  <a:schemeClr val="tx1"/>
                </a:solidFill>
              </a:rPr>
              <a:t>Note 3: 68 community coaches </a:t>
            </a:r>
          </a:p>
          <a:p>
            <a:r>
              <a:rPr lang="en-US" dirty="0">
                <a:solidFill>
                  <a:schemeClr val="tx1"/>
                </a:solidFill>
              </a:rPr>
              <a:t>Note 4: Male to Female Participation: 65% to 35%</a:t>
            </a:r>
          </a:p>
          <a:p>
            <a:r>
              <a:rPr lang="en-US" dirty="0">
                <a:solidFill>
                  <a:schemeClr val="tx1"/>
                </a:solidFill>
              </a:rPr>
              <a:t>Note 5 Sport Initiation includes “Grassroots” development initiatives: HopOn, Clinics, C4A initiatives etc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" name="Picture 11" descr="A group of people with helmets and a bike&#10;&#10;Description automatically generated">
            <a:extLst>
              <a:ext uri="{FF2B5EF4-FFF2-40B4-BE49-F238E27FC236}">
                <a16:creationId xmlns:a16="http://schemas.microsoft.com/office/drawing/2014/main" id="{156C74F4-13F8-F1ED-4596-E1CD00E17F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218" y="2139696"/>
            <a:ext cx="2684526" cy="3121483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215D19B-FB9F-12B4-A04F-EF093036E8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3405653"/>
              </p:ext>
            </p:extLst>
          </p:nvPr>
        </p:nvGraphicFramePr>
        <p:xfrm>
          <a:off x="1006996" y="2135833"/>
          <a:ext cx="4748574" cy="3092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62479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A1098A-026B-CB5D-92CE-9962F4AC5E25}"/>
              </a:ext>
            </a:extLst>
          </p:cNvPr>
          <p:cNvSpPr/>
          <p:nvPr/>
        </p:nvSpPr>
        <p:spPr>
          <a:xfrm>
            <a:off x="169163" y="698855"/>
            <a:ext cx="2266296" cy="5276571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ADD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A3D33B6-7294-D5BF-0B41-A88212F43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31384" y="468939"/>
            <a:ext cx="11122146" cy="783997"/>
          </a:xfrm>
        </p:spPr>
        <p:txBody>
          <a:bodyPr/>
          <a:lstStyle/>
          <a:p>
            <a:pPr algn="r"/>
            <a:r>
              <a:rPr lang="en-US" sz="4400" dirty="0"/>
              <a:t>MISSION, VISION, VALU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877AB7F-7586-4B0E-0748-FEF2A20A6A8D}"/>
              </a:ext>
            </a:extLst>
          </p:cNvPr>
          <p:cNvGrpSpPr/>
          <p:nvPr/>
        </p:nvGrpSpPr>
        <p:grpSpPr>
          <a:xfrm>
            <a:off x="3741573" y="1434493"/>
            <a:ext cx="7869292" cy="1182827"/>
            <a:chOff x="3741573" y="1761185"/>
            <a:chExt cx="7869292" cy="118282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7759192-1087-195D-0994-4F2DC84FBE60}"/>
                </a:ext>
              </a:extLst>
            </p:cNvPr>
            <p:cNvSpPr/>
            <p:nvPr/>
          </p:nvSpPr>
          <p:spPr>
            <a:xfrm>
              <a:off x="3741573" y="1867408"/>
              <a:ext cx="7277880" cy="9703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>
              <a:outerShdw blurRad="50800" dist="87875" dir="5400000" algn="t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SSION</a:t>
              </a:r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promote the growth of the Sport of Cycling in Manitoba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A976DB8-21EA-C885-64C1-B201A622637D}"/>
                </a:ext>
              </a:extLst>
            </p:cNvPr>
            <p:cNvSpPr/>
            <p:nvPr/>
          </p:nvSpPr>
          <p:spPr>
            <a:xfrm>
              <a:off x="10428038" y="1761185"/>
              <a:ext cx="1182827" cy="1182827"/>
            </a:xfrm>
            <a:prstGeom prst="ellipse">
              <a:avLst/>
            </a:prstGeom>
            <a:solidFill>
              <a:srgbClr val="EBEBE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DBD2769-5DF6-B53F-E303-4796D16C8F68}"/>
                </a:ext>
              </a:extLst>
            </p:cNvPr>
            <p:cNvSpPr/>
            <p:nvPr/>
          </p:nvSpPr>
          <p:spPr>
            <a:xfrm>
              <a:off x="10493234" y="1826381"/>
              <a:ext cx="1052435" cy="1052435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19" name="Graphic 18" descr="Bullseye with solid fill">
              <a:extLst>
                <a:ext uri="{FF2B5EF4-FFF2-40B4-BE49-F238E27FC236}">
                  <a16:creationId xmlns:a16="http://schemas.microsoft.com/office/drawing/2014/main" id="{192B3D88-E5A9-C0BD-B502-76AC27068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662726" y="1995872"/>
              <a:ext cx="713449" cy="713449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927B805-F44E-985D-E0CD-B714BE3992B9}"/>
              </a:ext>
            </a:extLst>
          </p:cNvPr>
          <p:cNvGrpSpPr/>
          <p:nvPr/>
        </p:nvGrpSpPr>
        <p:grpSpPr>
          <a:xfrm>
            <a:off x="3741573" y="4266296"/>
            <a:ext cx="7869292" cy="1182827"/>
            <a:chOff x="3741573" y="4266296"/>
            <a:chExt cx="7869292" cy="118282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1A8E365-BB16-9864-44ED-044E3FE515C5}"/>
                </a:ext>
              </a:extLst>
            </p:cNvPr>
            <p:cNvSpPr/>
            <p:nvPr/>
          </p:nvSpPr>
          <p:spPr>
            <a:xfrm>
              <a:off x="3741573" y="4372519"/>
              <a:ext cx="7277880" cy="9703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>
              <a:outerShdw blurRad="50800" dist="87875" dir="5400000" algn="t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90000"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UES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pacity Building | Community Champions | Connection 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un | Integrity | Pursuit of Excellence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0BEE769-B046-C26F-D8C7-5B0F36468E65}"/>
                </a:ext>
              </a:extLst>
            </p:cNvPr>
            <p:cNvSpPr/>
            <p:nvPr/>
          </p:nvSpPr>
          <p:spPr>
            <a:xfrm>
              <a:off x="10428038" y="4266296"/>
              <a:ext cx="1182827" cy="1182827"/>
            </a:xfrm>
            <a:prstGeom prst="ellipse">
              <a:avLst/>
            </a:prstGeom>
            <a:solidFill>
              <a:srgbClr val="EBEBE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EE828EF-F94E-1E7F-F726-EA961D7CC2DD}"/>
                </a:ext>
              </a:extLst>
            </p:cNvPr>
            <p:cNvSpPr/>
            <p:nvPr/>
          </p:nvSpPr>
          <p:spPr>
            <a:xfrm>
              <a:off x="10493231" y="4331491"/>
              <a:ext cx="1052435" cy="1052435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21" name="Graphic 20" descr="Cheers with solid fill">
              <a:extLst>
                <a:ext uri="{FF2B5EF4-FFF2-40B4-BE49-F238E27FC236}">
                  <a16:creationId xmlns:a16="http://schemas.microsoft.com/office/drawing/2014/main" id="{C6914B16-6555-2F66-ED7E-ED1E4A43A2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62723" y="4500983"/>
              <a:ext cx="713449" cy="713449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0A8E082-190B-5B37-C9B0-A3F5FB196FE1}"/>
              </a:ext>
            </a:extLst>
          </p:cNvPr>
          <p:cNvGrpSpPr/>
          <p:nvPr/>
        </p:nvGrpSpPr>
        <p:grpSpPr>
          <a:xfrm>
            <a:off x="3741573" y="2850394"/>
            <a:ext cx="7869292" cy="1182827"/>
            <a:chOff x="3741573" y="3017476"/>
            <a:chExt cx="7869292" cy="118282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4B12FA7-E2C1-1464-0308-3CBA98CC15B7}"/>
                </a:ext>
              </a:extLst>
            </p:cNvPr>
            <p:cNvSpPr/>
            <p:nvPr/>
          </p:nvSpPr>
          <p:spPr>
            <a:xfrm>
              <a:off x="3741573" y="3128549"/>
              <a:ext cx="7277880" cy="9703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>
              <a:outerShdw blurRad="50800" dist="87875" dir="5400000" algn="t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SION</a:t>
              </a:r>
              <a:b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inspire a thriving cycling culture that enriches the lives 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Manitobans through participation, community, and excellence 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the sport.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DEE5AE7-E4F5-B217-FEC9-18FDF476286F}"/>
                </a:ext>
              </a:extLst>
            </p:cNvPr>
            <p:cNvSpPr/>
            <p:nvPr/>
          </p:nvSpPr>
          <p:spPr>
            <a:xfrm>
              <a:off x="10428038" y="3017476"/>
              <a:ext cx="1182827" cy="1182827"/>
            </a:xfrm>
            <a:prstGeom prst="ellipse">
              <a:avLst/>
            </a:prstGeom>
            <a:solidFill>
              <a:srgbClr val="EBEBE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BBCFC5B-F69D-E6BD-4F17-01F14D120E68}"/>
                </a:ext>
              </a:extLst>
            </p:cNvPr>
            <p:cNvSpPr/>
            <p:nvPr/>
          </p:nvSpPr>
          <p:spPr>
            <a:xfrm>
              <a:off x="10493232" y="3080057"/>
              <a:ext cx="1052435" cy="1052435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23" name="Graphic 22" descr="Open hand with plant with solid fill">
              <a:extLst>
                <a:ext uri="{FF2B5EF4-FFF2-40B4-BE49-F238E27FC236}">
                  <a16:creationId xmlns:a16="http://schemas.microsoft.com/office/drawing/2014/main" id="{5083A32B-5462-93E1-1E2E-ADD2DAAD9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662723" y="3213812"/>
              <a:ext cx="713449" cy="713449"/>
            </a:xfrm>
            <a:prstGeom prst="rect">
              <a:avLst/>
            </a:prstGeom>
          </p:spPr>
        </p:pic>
      </p:grpSp>
      <p:pic>
        <p:nvPicPr>
          <p:cNvPr id="16" name="Content Placeholder 15" descr="Close-up of a row of bicycles&#10;&#10;Description automatically generated">
            <a:extLst>
              <a:ext uri="{FF2B5EF4-FFF2-40B4-BE49-F238E27FC236}">
                <a16:creationId xmlns:a16="http://schemas.microsoft.com/office/drawing/2014/main" id="{9C0D8045-6094-9559-A17F-F947B887CDB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92" y="1856232"/>
            <a:ext cx="2714339" cy="3264408"/>
          </a:xfrm>
        </p:spPr>
      </p:pic>
    </p:spTree>
    <p:extLst>
      <p:ext uri="{BB962C8B-B14F-4D97-AF65-F5344CB8AC3E}">
        <p14:creationId xmlns:p14="http://schemas.microsoft.com/office/powerpoint/2010/main" val="42765273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572376"/>
            <a:ext cx="11122146" cy="716928"/>
          </a:xfrm>
        </p:spPr>
        <p:txBody>
          <a:bodyPr/>
          <a:lstStyle/>
          <a:p>
            <a:r>
              <a:rPr lang="en-US" sz="4000" dirty="0"/>
              <a:t>Performance Pathway – </a:t>
            </a:r>
            <a:r>
              <a:rPr lang="en-US" sz="4000" i="1" dirty="0"/>
              <a:t>Provincial Program</a:t>
            </a:r>
            <a:endParaRPr lang="en-US" sz="4000" i="1" dirty="0">
              <a:highlight>
                <a:srgbClr val="FFFF00"/>
              </a:highligh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97AEC7C-E53C-F754-642A-BA5E1F6F8ECC}"/>
              </a:ext>
            </a:extLst>
          </p:cNvPr>
          <p:cNvSpPr/>
          <p:nvPr/>
        </p:nvSpPr>
        <p:spPr>
          <a:xfrm>
            <a:off x="6276054" y="3858764"/>
            <a:ext cx="2455919" cy="15959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ter (Nov 17-Mar 31)</a:t>
            </a:r>
          </a:p>
          <a:p>
            <a:pPr lvl="0" algn="ctr">
              <a:defRPr/>
            </a:pP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er (Apr 1- Oct 31) </a:t>
            </a:r>
          </a:p>
          <a:p>
            <a:pPr lvl="0" algn="ctr">
              <a:defRPr/>
            </a:pP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Year (Nov-Oct)</a:t>
            </a:r>
            <a:b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B27175-31A5-BC9E-8AF4-59569113ABFE}"/>
              </a:ext>
            </a:extLst>
          </p:cNvPr>
          <p:cNvSpPr/>
          <p:nvPr/>
        </p:nvSpPr>
        <p:spPr>
          <a:xfrm>
            <a:off x="6276054" y="2128607"/>
            <a:ext cx="2455919" cy="16204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</a:t>
            </a:r>
            <a:b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TD Athlete Participation</a:t>
            </a:r>
            <a:r>
              <a:rPr lang="en-US" sz="16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DDFAA-55B7-53CB-D72B-7BCDEB139D18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A6CFAD00-86C0-361C-76A2-A53E5C9544E6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DEA3A3FA-0489-F0C1-B36D-7C10342AD292}"/>
                </a:ext>
              </a:extLst>
            </p:cNvPr>
            <p:cNvSpPr/>
            <p:nvPr/>
          </p:nvSpPr>
          <p:spPr>
            <a:xfrm>
              <a:off x="6734661" y="2206367"/>
              <a:ext cx="2786699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YoY Provincial Program Summar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FFF7DDF-3172-1A6E-8F2E-BE893292F001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BA0DF6BE-3091-4ACE-1382-A355B9D44C71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D69990C4-B630-6B68-165A-3D9EBC0E6F11}"/>
                </a:ext>
              </a:extLst>
            </p:cNvPr>
            <p:cNvSpPr/>
            <p:nvPr/>
          </p:nvSpPr>
          <p:spPr>
            <a:xfrm>
              <a:off x="2377216" y="2206367"/>
              <a:ext cx="973314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-Year Overview</a:t>
              </a:r>
            </a:p>
          </p:txBody>
        </p:sp>
      </p:grp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7AF965E-5738-B1BC-908D-3A37F1BD00FD}"/>
              </a:ext>
            </a:extLst>
          </p:cNvPr>
          <p:cNvSpPr txBox="1">
            <a:spLocks/>
          </p:cNvSpPr>
          <p:nvPr/>
        </p:nvSpPr>
        <p:spPr>
          <a:xfrm>
            <a:off x="484632" y="5650992"/>
            <a:ext cx="11128248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 sz="9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9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8654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Courier New" pitchFamily="49" charset="0"/>
              <a:buChar char="o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31538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4423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Note 1: Athlete participation for 2025 is based on the fiscal year (Apr-Nov).  New season starts Nov 17/25</a:t>
            </a:r>
          </a:p>
          <a:p>
            <a:r>
              <a:rPr lang="en-US" dirty="0">
                <a:solidFill>
                  <a:schemeClr val="tx1"/>
                </a:solidFill>
              </a:rPr>
              <a:t>Note 2: Program participants include: Devo One, Devo, Performance Athletes</a:t>
            </a:r>
          </a:p>
          <a:p>
            <a:r>
              <a:rPr lang="en-US" dirty="0">
                <a:solidFill>
                  <a:schemeClr val="tx1"/>
                </a:solidFill>
              </a:rPr>
              <a:t>Note 3: 2025 Canada Games Year – Newfoundland</a:t>
            </a:r>
          </a:p>
          <a:p>
            <a:r>
              <a:rPr lang="en-US" dirty="0">
                <a:solidFill>
                  <a:schemeClr val="tx1"/>
                </a:solidFill>
              </a:rPr>
              <a:t>Note 4: Thank you to committee members: Don Rose, Brett Zagozewski, Garret Penner, and retiring athletes reps: Kyle Zorniak, Aimee Gauthier, Welcome Isla Thomas, and Nevin Howanyk</a:t>
            </a:r>
          </a:p>
          <a:p>
            <a:r>
              <a:rPr lang="en-US" dirty="0">
                <a:solidFill>
                  <a:schemeClr val="tx1"/>
                </a:solidFill>
              </a:rPr>
              <a:t>Note 5: Thank you to program support coaches/ride leaders: Wayne Bishop, Brent Burley, Eryn Guenter, Aggie Gigiel, Blake Stefanec, Garret Penner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C5E7ED8-1387-8BDE-93C8-11DB5012A9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8600982"/>
              </p:ext>
            </p:extLst>
          </p:nvPr>
        </p:nvGraphicFramePr>
        <p:xfrm>
          <a:off x="995316" y="2128607"/>
          <a:ext cx="4572000" cy="3326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3501639-3B33-DDB1-23B4-415C92891897}"/>
              </a:ext>
            </a:extLst>
          </p:cNvPr>
          <p:cNvSpPr/>
          <p:nvPr/>
        </p:nvSpPr>
        <p:spPr>
          <a:xfrm>
            <a:off x="8896055" y="3858764"/>
            <a:ext cx="2300630" cy="159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US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 Building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cards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rt Science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 Pride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!</a:t>
            </a:r>
          </a:p>
          <a:p>
            <a:pPr lvl="0" algn="ctr">
              <a:defRPr/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A group of people on bikes&#10;&#10;AI-generated content may be incorrect.">
            <a:extLst>
              <a:ext uri="{FF2B5EF4-FFF2-40B4-BE49-F238E27FC236}">
                <a16:creationId xmlns:a16="http://schemas.microsoft.com/office/drawing/2014/main" id="{19F97F62-1FC9-DFCC-07D9-91E44F1C3C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8758" y="2205872"/>
            <a:ext cx="2287926" cy="152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0089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E5DB95-546A-BE14-EA53-1111B85100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F338892-0BDD-9958-2752-BF9AFC21F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-966699"/>
            <a:ext cx="11122146" cy="2409057"/>
          </a:xfrm>
        </p:spPr>
        <p:txBody>
          <a:bodyPr/>
          <a:lstStyle/>
          <a:p>
            <a:br>
              <a:rPr lang="en-US" sz="4400" dirty="0"/>
            </a:br>
            <a:br>
              <a:rPr lang="en-US" sz="4400" dirty="0"/>
            </a:br>
            <a:r>
              <a:rPr lang="en-US" sz="4400" dirty="0"/>
              <a:t>Athlete Pathway - Bridging the Gap</a:t>
            </a:r>
            <a:endParaRPr lang="en-US" sz="4400" dirty="0">
              <a:highlight>
                <a:srgbClr val="FFFF00"/>
              </a:highligh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FDDB442-461C-BA76-C779-F16D1D1EECD7}"/>
              </a:ext>
            </a:extLst>
          </p:cNvPr>
          <p:cNvGrpSpPr/>
          <p:nvPr/>
        </p:nvGrpSpPr>
        <p:grpSpPr>
          <a:xfrm>
            <a:off x="6215675" y="1734089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CCE93709-2118-0DB7-5990-4F479116FDE4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03D09295-2EBE-3781-BFE4-96240CB1DAB5}"/>
                </a:ext>
              </a:extLst>
            </p:cNvPr>
            <p:cNvSpPr/>
            <p:nvPr/>
          </p:nvSpPr>
          <p:spPr>
            <a:xfrm>
              <a:off x="6632615" y="2206367"/>
              <a:ext cx="2990807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etition Development Certifi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23F231A-8292-318E-9E10-55360882C7B3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8A3A5C9E-EE48-DA1F-2444-960E21D0CBF8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A54C91A9-C59B-FA48-397A-7E96B0D5E18B}"/>
                </a:ext>
              </a:extLst>
            </p:cNvPr>
            <p:cNvSpPr/>
            <p:nvPr/>
          </p:nvSpPr>
          <p:spPr>
            <a:xfrm>
              <a:off x="2073279" y="2206367"/>
              <a:ext cx="1581209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gressive Athlete Pathway</a:t>
              </a:r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74B1E85-A48B-BC3B-EEC2-3DB684AE4B42}"/>
              </a:ext>
            </a:extLst>
          </p:cNvPr>
          <p:cNvGraphicFramePr>
            <a:graphicFrameLocks/>
          </p:cNvGraphicFramePr>
          <p:nvPr/>
        </p:nvGraphicFramePr>
        <p:xfrm>
          <a:off x="674975" y="2101175"/>
          <a:ext cx="4925147" cy="3344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Picture 2" descr="A diagram of a cycle&#10;&#10;AI-generated content may be incorrect.">
            <a:extLst>
              <a:ext uri="{FF2B5EF4-FFF2-40B4-BE49-F238E27FC236}">
                <a16:creationId xmlns:a16="http://schemas.microsoft.com/office/drawing/2014/main" id="{BACD7060-F580-6B92-B47C-4C5C9FC189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50" y="2192198"/>
            <a:ext cx="5061896" cy="26726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BDCA0FC-CEA9-D490-F206-E3413E59E051}"/>
              </a:ext>
            </a:extLst>
          </p:cNvPr>
          <p:cNvSpPr txBox="1"/>
          <p:nvPr/>
        </p:nvSpPr>
        <p:spPr>
          <a:xfrm rot="10800000" flipV="1">
            <a:off x="6711003" y="4565388"/>
            <a:ext cx="438434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Congratulations to 2025 Canada Games Participants: </a:t>
            </a:r>
          </a:p>
          <a:p>
            <a:endParaRPr lang="en-US" sz="1100" dirty="0"/>
          </a:p>
          <a:p>
            <a:r>
              <a:rPr lang="en-US" sz="1100" b="1" dirty="0"/>
              <a:t>Athletes: </a:t>
            </a:r>
            <a:r>
              <a:rPr lang="en-US" sz="1100" dirty="0"/>
              <a:t>Addy Champagne, Rielle Champagne, Ewan Dalling, Tyler Hartle, Marcus Huebner, Pinja Hyytiainen, Loic Savard, Kare Sawatsky, Mia Sawatsky, Isla Thomas, Soren Weselake </a:t>
            </a:r>
            <a:r>
              <a:rPr lang="en-US" sz="1100" b="1" dirty="0">
                <a:solidFill>
                  <a:srgbClr val="F4BF0B"/>
                </a:solidFill>
              </a:rPr>
              <a:t>(Bronze - ITT/Gold – MTB)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ach: </a:t>
            </a:r>
            <a:r>
              <a:rPr lang="en-US" sz="1100" dirty="0">
                <a:solidFill>
                  <a:schemeClr val="tx1"/>
                </a:solidFill>
              </a:rPr>
              <a:t>Nick Bergen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Managers: </a:t>
            </a:r>
            <a:r>
              <a:rPr lang="en-US" sz="1100" dirty="0">
                <a:solidFill>
                  <a:schemeClr val="tx1"/>
                </a:solidFill>
              </a:rPr>
              <a:t>Maia Dalling + Melissa Hyytiainen</a:t>
            </a:r>
          </a:p>
          <a:p>
            <a:r>
              <a:rPr lang="en-US" sz="1100" b="1" dirty="0"/>
              <a:t>Mechanic</a:t>
            </a:r>
            <a:r>
              <a:rPr lang="en-US" sz="1100" dirty="0"/>
              <a:t>: Garret Penner</a:t>
            </a:r>
            <a:r>
              <a:rPr lang="en-US" sz="1100" dirty="0">
                <a:solidFill>
                  <a:schemeClr val="tx1"/>
                </a:solidFill>
              </a:rPr>
              <a:t>  </a:t>
            </a:r>
          </a:p>
        </p:txBody>
      </p:sp>
      <p:pic>
        <p:nvPicPr>
          <p:cNvPr id="8" name="Picture 7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BA058E1E-5047-96DF-0BEB-FADF65F465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1004" y="2101174"/>
            <a:ext cx="4209805" cy="2672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2214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8AA8E-2659-8A71-D677-BC95739448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5D4D9E6-1982-FD45-3559-B9EAC1A351E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BS</a:t>
            </a:r>
          </a:p>
        </p:txBody>
      </p:sp>
    </p:spTree>
    <p:extLst>
      <p:ext uri="{BB962C8B-B14F-4D97-AF65-F5344CB8AC3E}">
        <p14:creationId xmlns:p14="http://schemas.microsoft.com/office/powerpoint/2010/main" val="6220733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Clubs &amp; Partners</a:t>
            </a:r>
          </a:p>
        </p:txBody>
      </p:sp>
      <p:sp>
        <p:nvSpPr>
          <p:cNvPr id="4" name="Freeform 164">
            <a:extLst>
              <a:ext uri="{FF2B5EF4-FFF2-40B4-BE49-F238E27FC236}">
                <a16:creationId xmlns:a16="http://schemas.microsoft.com/office/drawing/2014/main" id="{65BC9E24-0AEC-290B-659E-74DB7D829D96}"/>
              </a:ext>
            </a:extLst>
          </p:cNvPr>
          <p:cNvSpPr>
            <a:spLocks/>
          </p:cNvSpPr>
          <p:nvPr/>
        </p:nvSpPr>
        <p:spPr bwMode="auto">
          <a:xfrm>
            <a:off x="532888" y="1248248"/>
            <a:ext cx="2786988" cy="4361504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22" y="818"/>
              </a:cxn>
              <a:cxn ang="0">
                <a:pos x="306" y="806"/>
              </a:cxn>
              <a:cxn ang="0">
                <a:pos x="302" y="502"/>
              </a:cxn>
              <a:cxn ang="0">
                <a:pos x="486" y="200"/>
              </a:cxn>
              <a:cxn ang="0">
                <a:pos x="460" y="178"/>
              </a:cxn>
              <a:cxn ang="0">
                <a:pos x="418" y="190"/>
              </a:cxn>
              <a:cxn ang="0">
                <a:pos x="378" y="218"/>
              </a:cxn>
              <a:cxn ang="0">
                <a:pos x="338" y="108"/>
              </a:cxn>
              <a:cxn ang="0">
                <a:pos x="318" y="98"/>
              </a:cxn>
              <a:cxn ang="0">
                <a:pos x="288" y="104"/>
              </a:cxn>
              <a:cxn ang="0">
                <a:pos x="254" y="68"/>
              </a:cxn>
              <a:cxn ang="0">
                <a:pos x="264" y="0"/>
              </a:cxn>
              <a:cxn ang="0">
                <a:pos x="144" y="16"/>
              </a:cxn>
              <a:cxn ang="0">
                <a:pos x="0" y="32"/>
              </a:cxn>
              <a:cxn ang="0">
                <a:pos x="0" y="32"/>
              </a:cxn>
              <a:cxn ang="0">
                <a:pos x="0" y="32"/>
              </a:cxn>
            </a:cxnLst>
            <a:rect l="0" t="0" r="r" b="b"/>
            <a:pathLst>
              <a:path w="486" h="818">
                <a:moveTo>
                  <a:pt x="0" y="32"/>
                </a:moveTo>
                <a:lnTo>
                  <a:pt x="22" y="818"/>
                </a:lnTo>
                <a:lnTo>
                  <a:pt x="306" y="806"/>
                </a:lnTo>
                <a:lnTo>
                  <a:pt x="302" y="502"/>
                </a:lnTo>
                <a:lnTo>
                  <a:pt x="486" y="200"/>
                </a:lnTo>
                <a:lnTo>
                  <a:pt x="460" y="178"/>
                </a:lnTo>
                <a:lnTo>
                  <a:pt x="418" y="190"/>
                </a:lnTo>
                <a:lnTo>
                  <a:pt x="378" y="218"/>
                </a:lnTo>
                <a:lnTo>
                  <a:pt x="338" y="108"/>
                </a:lnTo>
                <a:lnTo>
                  <a:pt x="318" y="98"/>
                </a:lnTo>
                <a:lnTo>
                  <a:pt x="288" y="104"/>
                </a:lnTo>
                <a:lnTo>
                  <a:pt x="254" y="68"/>
                </a:lnTo>
                <a:lnTo>
                  <a:pt x="264" y="0"/>
                </a:lnTo>
                <a:lnTo>
                  <a:pt x="144" y="16"/>
                </a:lnTo>
                <a:lnTo>
                  <a:pt x="0" y="32"/>
                </a:lnTo>
                <a:lnTo>
                  <a:pt x="0" y="32"/>
                </a:lnTo>
                <a:lnTo>
                  <a:pt x="0" y="32"/>
                </a:lnTo>
                <a:close/>
              </a:path>
            </a:pathLst>
          </a:custGeom>
          <a:solidFill>
            <a:schemeClr val="accent2"/>
          </a:solidFill>
          <a:ln w="8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1">
              <a:defRPr/>
            </a:pPr>
            <a:endParaRPr lang="en-CA" sz="2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CA" sz="16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itob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6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Clubs</a:t>
            </a:r>
          </a:p>
          <a:p>
            <a:pPr lvl="1">
              <a:defRPr/>
            </a:pPr>
            <a:endParaRPr lang="en-CA" sz="24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CA" sz="16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6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B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6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ke Winnipeg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ADD391D-60C2-9BB7-4197-91F62876CA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0408" y="1310653"/>
            <a:ext cx="2235830" cy="13716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1400" dirty="0">
                <a:ea typeface="ＭＳ Ｐゴシック" pitchFamily="50" charset="-128"/>
              </a:rPr>
              <a:t>Text runs here</a:t>
            </a:r>
            <a:endParaRPr lang="en-CA" altLang="ja-JP" sz="1400" dirty="0">
              <a:ea typeface="ＭＳ Ｐゴシック" pitchFamily="50" charset="-128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465C05E-9859-3CF1-0CA8-5E2F460F65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9806" y="1310653"/>
            <a:ext cx="2235830" cy="13716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lvl="0" algn="ctr">
              <a:defRPr/>
            </a:pPr>
            <a:r>
              <a:rPr lang="en-CA" sz="2400" b="1" dirty="0">
                <a:ea typeface="ＭＳ Ｐゴシック" pitchFamily="50" charset="-128"/>
              </a:rPr>
              <a:t>North</a:t>
            </a:r>
            <a:br>
              <a:rPr lang="en-CA" sz="2400" dirty="0">
                <a:ea typeface="ＭＳ Ｐゴシック" pitchFamily="50" charset="-128"/>
              </a:rPr>
            </a:br>
            <a:r>
              <a:rPr lang="en-CA" sz="2400" dirty="0">
                <a:ea typeface="ＭＳ Ｐゴシック" pitchFamily="50" charset="-128"/>
              </a:rPr>
              <a:t>0 Clubs</a:t>
            </a:r>
            <a:endParaRPr lang="en-CA" altLang="ja-JP" sz="2400" dirty="0">
              <a:ea typeface="ＭＳ Ｐゴシック" pitchFamily="50" charset="-128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F381348-43EE-6B98-97E7-F056A7697D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9204" y="1310653"/>
            <a:ext cx="2235830" cy="13716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1400" dirty="0">
                <a:ea typeface="ＭＳ Ｐゴシック" pitchFamily="50" charset="-128"/>
              </a:rPr>
              <a:t>Text runs here</a:t>
            </a:r>
            <a:endParaRPr lang="en-CA" altLang="ja-JP" sz="1400" dirty="0">
              <a:ea typeface="ＭＳ Ｐゴシック" pitchFamily="50" charset="-128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9DB0DF1-2E8E-1384-152A-8DB68BE8B4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0408" y="4238152"/>
            <a:ext cx="2235830" cy="13716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1400" dirty="0">
                <a:ea typeface="ＭＳ Ｐゴシック" pitchFamily="50" charset="-128"/>
              </a:rPr>
              <a:t>Text runs here</a:t>
            </a:r>
            <a:endParaRPr lang="en-CA" altLang="ja-JP" sz="1400" dirty="0">
              <a:ea typeface="ＭＳ Ｐゴシック" pitchFamily="50" charset="-128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9203E62-EEFD-035B-ED9A-A4DA0DA1AC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9806" y="4238152"/>
            <a:ext cx="2235830" cy="1371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2400" b="1" dirty="0">
                <a:ea typeface="ＭＳ Ｐゴシック" pitchFamily="50" charset="-128"/>
              </a:rPr>
              <a:t>South</a:t>
            </a:r>
            <a:br>
              <a:rPr lang="en-CA" sz="2400" dirty="0">
                <a:ea typeface="ＭＳ Ｐゴシック" pitchFamily="50" charset="-128"/>
              </a:rPr>
            </a:br>
            <a:r>
              <a:rPr lang="en-CA" sz="2400" dirty="0">
                <a:ea typeface="ＭＳ Ｐゴシック" pitchFamily="50" charset="-128"/>
              </a:rPr>
              <a:t>1 Club</a:t>
            </a:r>
            <a:endParaRPr lang="en-CA" altLang="ja-JP" sz="2400" dirty="0">
              <a:ea typeface="ＭＳ Ｐゴシック" pitchFamily="50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5EA917E-5AE5-67C6-D1DC-741FCF048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9204" y="4238152"/>
            <a:ext cx="2235830" cy="13716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1400" dirty="0">
                <a:ea typeface="ＭＳ Ｐゴシック" pitchFamily="50" charset="-128"/>
              </a:rPr>
              <a:t>Text runs here</a:t>
            </a:r>
            <a:endParaRPr lang="en-CA" altLang="ja-JP" sz="1400" dirty="0">
              <a:ea typeface="ＭＳ Ｐゴシック" pitchFamily="50" charset="-12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8798078-3266-C4FD-C2C9-7CBEEC910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0408" y="2774403"/>
            <a:ext cx="2235830" cy="1371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2400" b="1" dirty="0">
                <a:ea typeface="ＭＳ Ｐゴシック" pitchFamily="50" charset="-128"/>
              </a:rPr>
              <a:t>West</a:t>
            </a:r>
            <a:br>
              <a:rPr lang="en-CA" sz="2400" dirty="0">
                <a:ea typeface="ＭＳ Ｐゴシック" pitchFamily="50" charset="-128"/>
              </a:rPr>
            </a:br>
            <a:r>
              <a:rPr lang="en-CA" sz="2400" dirty="0">
                <a:ea typeface="ＭＳ Ｐゴシック" pitchFamily="50" charset="-128"/>
              </a:rPr>
              <a:t>4 Clubs</a:t>
            </a:r>
            <a:endParaRPr lang="en-CA" altLang="ja-JP" sz="2400" dirty="0">
              <a:ea typeface="ＭＳ Ｐゴシック" pitchFamily="50" charset="-128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D1AB055-7364-86CB-0933-7F50C4D4EF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9806" y="2774403"/>
            <a:ext cx="2235830" cy="13716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2400" b="1" dirty="0">
                <a:ea typeface="ＭＳ Ｐゴシック" pitchFamily="50" charset="-128"/>
              </a:rPr>
              <a:t>Winnipeg</a:t>
            </a:r>
          </a:p>
          <a:p>
            <a:pPr algn="ctr">
              <a:defRPr/>
            </a:pPr>
            <a:r>
              <a:rPr lang="en-CA" altLang="ja-JP" sz="2400" dirty="0">
                <a:ea typeface="ＭＳ Ｐゴシック" pitchFamily="50" charset="-128"/>
              </a:rPr>
              <a:t>13 Club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A36D835-B0C3-B02D-C635-6C1A6D3FFA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9204" y="2774403"/>
            <a:ext cx="2235830" cy="137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>
              <a:defRPr/>
            </a:pPr>
            <a:r>
              <a:rPr lang="en-CA" sz="2400" b="1" dirty="0">
                <a:ea typeface="ＭＳ Ｐゴシック" pitchFamily="50" charset="-128"/>
              </a:rPr>
              <a:t>East</a:t>
            </a:r>
            <a:br>
              <a:rPr lang="en-CA" sz="2400" dirty="0">
                <a:ea typeface="ＭＳ Ｐゴシック" pitchFamily="50" charset="-128"/>
              </a:rPr>
            </a:br>
            <a:r>
              <a:rPr lang="en-CA" sz="2400" dirty="0">
                <a:ea typeface="ＭＳ Ｐゴシック" pitchFamily="50" charset="-128"/>
              </a:rPr>
              <a:t>1 Club</a:t>
            </a:r>
            <a:endParaRPr lang="en-CA" altLang="ja-JP" sz="2400" dirty="0">
              <a:ea typeface="ＭＳ Ｐゴシック" pitchFamily="50" charset="-128"/>
            </a:endParaRPr>
          </a:p>
        </p:txBody>
      </p:sp>
      <p:sp>
        <p:nvSpPr>
          <p:cNvPr id="52" name="AutoShape 12">
            <a:extLst>
              <a:ext uri="{FF2B5EF4-FFF2-40B4-BE49-F238E27FC236}">
                <a16:creationId xmlns:a16="http://schemas.microsoft.com/office/drawing/2014/main" id="{46BF348F-8D9A-65C8-E9BF-BB1019F64B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2650" y="1310653"/>
            <a:ext cx="534984" cy="4297680"/>
          </a:xfrm>
          <a:prstGeom prst="homePlate">
            <a:avLst>
              <a:gd name="adj" fmla="val 100000"/>
            </a:avLst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/>
            <a:endParaRPr lang="en-CA" sz="1400" dirty="0"/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3AC97BCE-D304-86D0-3FC0-52C28E35742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9" b="12682"/>
          <a:stretch/>
        </p:blipFill>
        <p:spPr>
          <a:xfrm>
            <a:off x="4660408" y="1310653"/>
            <a:ext cx="2235830" cy="1371600"/>
          </a:xfrm>
          <a:prstGeom prst="rect">
            <a:avLst/>
          </a:prstGeom>
        </p:spPr>
      </p:pic>
      <p:pic>
        <p:nvPicPr>
          <p:cNvPr id="3" name="Picture 2" descr="A group of people wearing matching outfits&#10;&#10;AI-generated content may be incorrect.">
            <a:extLst>
              <a:ext uri="{FF2B5EF4-FFF2-40B4-BE49-F238E27FC236}">
                <a16:creationId xmlns:a16="http://schemas.microsoft.com/office/drawing/2014/main" id="{98FAB8FC-B890-2E91-721B-BCCAADBAD6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9202" y="1295751"/>
            <a:ext cx="2235832" cy="1386502"/>
          </a:xfrm>
          <a:prstGeom prst="rect">
            <a:avLst/>
          </a:prstGeom>
        </p:spPr>
      </p:pic>
      <p:pic>
        <p:nvPicPr>
          <p:cNvPr id="6" name="Picture 5" descr="A group of men wearing cycling uniforms&#10;&#10;AI-generated content may be incorrect.">
            <a:extLst>
              <a:ext uri="{FF2B5EF4-FFF2-40B4-BE49-F238E27FC236}">
                <a16:creationId xmlns:a16="http://schemas.microsoft.com/office/drawing/2014/main" id="{872B76ED-2A28-90DA-C40F-F1F7CAFD06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9202" y="4238152"/>
            <a:ext cx="2235832" cy="1370181"/>
          </a:xfrm>
          <a:prstGeom prst="rect">
            <a:avLst/>
          </a:prstGeom>
        </p:spPr>
      </p:pic>
      <p:pic>
        <p:nvPicPr>
          <p:cNvPr id="8" name="Picture 7" descr="A group of people on bicycles&#10;&#10;AI-generated content may be incorrect.">
            <a:extLst>
              <a:ext uri="{FF2B5EF4-FFF2-40B4-BE49-F238E27FC236}">
                <a16:creationId xmlns:a16="http://schemas.microsoft.com/office/drawing/2014/main" id="{CDDC147F-63AB-0471-0553-8802A9D0E4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866" y="4236734"/>
            <a:ext cx="2263427" cy="137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4571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2C04C3-78E7-B5A7-90D5-8F3FB4097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4F1964A-092B-AE60-447B-7934630347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40714" y="5490757"/>
            <a:ext cx="11114320" cy="880306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Note 1: Club of 5 members or less, not reported above</a:t>
            </a:r>
          </a:p>
          <a:p>
            <a:r>
              <a:rPr lang="en-US" dirty="0">
                <a:solidFill>
                  <a:schemeClr val="tx1"/>
                </a:solidFill>
              </a:rPr>
              <a:t>Note 2: Clubs are listed smallest to largest (left to right) – based on registered members whose choose club as their primary affiliation</a:t>
            </a:r>
          </a:p>
          <a:p>
            <a:r>
              <a:rPr lang="en-US" dirty="0">
                <a:solidFill>
                  <a:schemeClr val="tx1"/>
                </a:solidFill>
              </a:rPr>
              <a:t>Note 3: Members by region are individual members. This does not reflect club affiliations </a:t>
            </a:r>
          </a:p>
          <a:p>
            <a:endParaRPr lang="en-CA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2A10D1A-9AD9-1B62-1382-29FD1BDB2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Clubs + Regions</a:t>
            </a:r>
            <a:endParaRPr lang="en-US" sz="4400" baseline="30000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592B682-643E-884A-6055-400BD6549F3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CA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7F3A76D-0241-E74D-4CF8-53D84145AA73}"/>
              </a:ext>
            </a:extLst>
          </p:cNvPr>
          <p:cNvGrpSpPr/>
          <p:nvPr/>
        </p:nvGrpSpPr>
        <p:grpSpPr>
          <a:xfrm>
            <a:off x="6052651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38C95104-2243-B1E5-62A3-E961570C7884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BB624822-77BB-E16B-FB29-6037DA14E2F4}"/>
                </a:ext>
              </a:extLst>
            </p:cNvPr>
            <p:cNvSpPr/>
            <p:nvPr/>
          </p:nvSpPr>
          <p:spPr>
            <a:xfrm>
              <a:off x="7243461" y="2206367"/>
              <a:ext cx="1769104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embers by Region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338D5B1-A55F-722B-3CD1-18DF2EF1451E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F215DAFD-D969-D236-997C-2F705B36A3BA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F93D7877-CEAD-E0CD-15EE-246319A89F4D}"/>
                </a:ext>
              </a:extLst>
            </p:cNvPr>
            <p:cNvSpPr/>
            <p:nvPr/>
          </p:nvSpPr>
          <p:spPr>
            <a:xfrm>
              <a:off x="2387163" y="2206367"/>
              <a:ext cx="953416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ub Affiliations</a:t>
              </a:r>
            </a:p>
          </p:txBody>
        </p:sp>
      </p:grp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931A60B0-E9E1-C5EC-254D-44F5F5E42F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9569802"/>
              </p:ext>
            </p:extLst>
          </p:nvPr>
        </p:nvGraphicFramePr>
        <p:xfrm>
          <a:off x="7050526" y="2372926"/>
          <a:ext cx="3276600" cy="236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1A6C870-128E-E934-8803-094CBB3FEB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5904" y="2060487"/>
            <a:ext cx="5269648" cy="3140163"/>
          </a:xfrm>
        </p:spPr>
        <p:txBody>
          <a:bodyPr/>
          <a:lstStyle/>
          <a:p>
            <a:endParaRPr lang="en-CA" dirty="0"/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931A60B0-E9E1-C5EC-254D-44F5F5E42F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4893917"/>
              </p:ext>
            </p:extLst>
          </p:nvPr>
        </p:nvGraphicFramePr>
        <p:xfrm>
          <a:off x="6384534" y="2245519"/>
          <a:ext cx="5270500" cy="27952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B2BA3FA-5C6E-D815-8FEF-E0BE59D13619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14760138"/>
              </p:ext>
            </p:extLst>
          </p:nvPr>
        </p:nvGraphicFramePr>
        <p:xfrm>
          <a:off x="533400" y="1868488"/>
          <a:ext cx="5270500" cy="331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333485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6550E5-BA60-C65D-ECF0-26D923AA0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2BF5B8-ED99-2320-4779-D4B381AFFBF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40714" y="5328057"/>
            <a:ext cx="11114320" cy="112344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Note 1: Zone 4 Timing System 3-year sponsorship: Bikes and Beyond Club Inc.</a:t>
            </a:r>
          </a:p>
          <a:p>
            <a:r>
              <a:rPr lang="en-US" dirty="0">
                <a:solidFill>
                  <a:schemeClr val="tx1"/>
                </a:solidFill>
              </a:rPr>
              <a:t>Note 2: Manitoba Liquor + Lotteries funding (current fiscal year)  Apr – Nov 2025</a:t>
            </a:r>
          </a:p>
          <a:p>
            <a:r>
              <a:rPr lang="en-US" dirty="0">
                <a:solidFill>
                  <a:schemeClr val="tx1"/>
                </a:solidFill>
              </a:rPr>
              <a:t>Note 3: Venue Development: Bison Butte Conceptual Designs in progress. </a:t>
            </a:r>
          </a:p>
          <a:p>
            <a:r>
              <a:rPr lang="en-US" dirty="0">
                <a:solidFill>
                  <a:schemeClr val="tx1"/>
                </a:solidFill>
              </a:rPr>
              <a:t>Note 4: MBLL total Investment: 26,930.  Funding provided for Rural Sport Development and 18+ events</a:t>
            </a:r>
          </a:p>
          <a:p>
            <a:endParaRPr lang="en-CA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9F324A-AC78-B8EB-2DA4-FBB2FB22E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Club + Sport Development</a:t>
            </a:r>
            <a:endParaRPr lang="en-US" sz="4400" baseline="30000" dirty="0">
              <a:solidFill>
                <a:srgbClr val="FF0000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5CB431B-F93E-2BF6-B0FC-5DB1DDF75F9E}"/>
              </a:ext>
            </a:extLst>
          </p:cNvPr>
          <p:cNvGrpSpPr/>
          <p:nvPr/>
        </p:nvGrpSpPr>
        <p:grpSpPr>
          <a:xfrm>
            <a:off x="6052651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63F43986-A444-B0DD-4A27-D1D6207AD683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F2B35CB8-2B35-A91C-00D2-788439D447B0}"/>
                </a:ext>
              </a:extLst>
            </p:cNvPr>
            <p:cNvSpPr/>
            <p:nvPr/>
          </p:nvSpPr>
          <p:spPr>
            <a:xfrm>
              <a:off x="7385130" y="2206367"/>
              <a:ext cx="1485773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ing in 2026!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A704D88-036E-5886-07C5-0DD56CE72859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4023A0B5-63B5-86BE-4016-A0924C48E9F4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21803172-F1F1-6F40-3961-612EA52038E5}"/>
                </a:ext>
              </a:extLst>
            </p:cNvPr>
            <p:cNvSpPr/>
            <p:nvPr/>
          </p:nvSpPr>
          <p:spPr>
            <a:xfrm>
              <a:off x="2321889" y="2206367"/>
              <a:ext cx="1083970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5 Club Support</a:t>
              </a:r>
            </a:p>
          </p:txBody>
        </p:sp>
      </p:grp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2EA0CA2-582E-33A3-2044-CD1728505AAB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71020249"/>
              </p:ext>
            </p:extLst>
          </p:nvPr>
        </p:nvGraphicFramePr>
        <p:xfrm>
          <a:off x="409528" y="1771092"/>
          <a:ext cx="5270500" cy="3332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0951B1B7-3DF9-E4C5-45E0-595986C2C8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9102048"/>
              </p:ext>
            </p:extLst>
          </p:nvPr>
        </p:nvGraphicFramePr>
        <p:xfrm>
          <a:off x="8903769" y="2216511"/>
          <a:ext cx="2349347" cy="1828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8E9206CC-3F9E-7DBD-7947-2071B75433BB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410842741"/>
              </p:ext>
            </p:extLst>
          </p:nvPr>
        </p:nvGraphicFramePr>
        <p:xfrm>
          <a:off x="6919118" y="4289195"/>
          <a:ext cx="3704889" cy="7322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7033">
                  <a:extLst>
                    <a:ext uri="{9D8B030D-6E8A-4147-A177-3AD203B41FA5}">
                      <a16:colId xmlns:a16="http://schemas.microsoft.com/office/drawing/2014/main" val="2357105988"/>
                    </a:ext>
                  </a:extLst>
                </a:gridCol>
                <a:gridCol w="1127856">
                  <a:extLst>
                    <a:ext uri="{9D8B030D-6E8A-4147-A177-3AD203B41FA5}">
                      <a16:colId xmlns:a16="http://schemas.microsoft.com/office/drawing/2014/main" val="2436658430"/>
                    </a:ext>
                  </a:extLst>
                </a:gridCol>
              </a:tblGrid>
              <a:tr h="18306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900" u="none" strike="noStrike" dirty="0">
                          <a:effectLst/>
                        </a:rPr>
                        <a:t>Manitoba Amateur Sports Sweepstakes</a:t>
                      </a:r>
                      <a:endParaRPr lang="en-CA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900" u="none" strike="noStrike" dirty="0">
                          <a:effectLst/>
                        </a:rPr>
                        <a:t>Fundraising Campaign</a:t>
                      </a:r>
                      <a:endParaRPr lang="en-CA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6260692"/>
                  </a:ext>
                </a:extLst>
              </a:tr>
              <a:tr h="18306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900" u="none" strike="noStrike" dirty="0">
                          <a:effectLst/>
                        </a:rPr>
                        <a:t>Cycling Canada </a:t>
                      </a:r>
                      <a:r>
                        <a:rPr lang="en-US" sz="900" u="sng" strike="noStrike" dirty="0">
                          <a:effectLst/>
                        </a:rPr>
                        <a:t>Club + Program </a:t>
                      </a:r>
                      <a:r>
                        <a:rPr lang="en-US" sz="900" u="none" strike="noStrike" dirty="0">
                          <a:effectLst/>
                        </a:rPr>
                        <a:t>Fundrais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900" u="none" strike="noStrike" dirty="0">
                          <a:effectLst/>
                        </a:rPr>
                        <a:t>Fundraising Campaign</a:t>
                      </a:r>
                      <a:endParaRPr lang="en-CA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2229722"/>
                  </a:ext>
                </a:extLst>
              </a:tr>
              <a:tr h="18306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900" u="none" strike="noStrike" dirty="0">
                          <a:effectLst/>
                        </a:rPr>
                        <a:t>National Sport Trust Fund - Bison Butt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900" u="none" strike="noStrike" dirty="0">
                          <a:effectLst/>
                        </a:rPr>
                        <a:t>Donations/Tax Receipts</a:t>
                      </a:r>
                      <a:endParaRPr lang="en-CA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1767460"/>
                  </a:ext>
                </a:extLst>
              </a:tr>
              <a:tr h="18306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900" u="none" strike="noStrike" dirty="0">
                          <a:effectLst/>
                        </a:rPr>
                        <a:t>Bison Butte Conceptual Design</a:t>
                      </a:r>
                      <a:endParaRPr lang="en-CA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900" u="none" strike="noStrike" dirty="0">
                          <a:effectLst/>
                        </a:rPr>
                        <a:t>Venue Development</a:t>
                      </a:r>
                      <a:endParaRPr lang="en-CA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0472183"/>
                  </a:ext>
                </a:extLst>
              </a:tr>
            </a:tbl>
          </a:graphicData>
        </a:graphic>
      </p:graphicFrame>
      <p:pic>
        <p:nvPicPr>
          <p:cNvPr id="22" name="Picture 21" descr="A group of people standing in front of a trailer&#10;&#10;AI-generated content may be incorrect.">
            <a:extLst>
              <a:ext uri="{FF2B5EF4-FFF2-40B4-BE49-F238E27FC236}">
                <a16:creationId xmlns:a16="http://schemas.microsoft.com/office/drawing/2014/main" id="{E35109CF-2478-CD79-C9E0-8417270DA9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216512"/>
            <a:ext cx="2732225" cy="1828800"/>
          </a:xfrm>
          <a:prstGeom prst="rect">
            <a:avLst/>
          </a:prstGeom>
        </p:spPr>
      </p:pic>
      <p:sp>
        <p:nvSpPr>
          <p:cNvPr id="35" name="Content Placeholder 34">
            <a:extLst>
              <a:ext uri="{FF2B5EF4-FFF2-40B4-BE49-F238E27FC236}">
                <a16:creationId xmlns:a16="http://schemas.microsoft.com/office/drawing/2014/main" id="{F5A720CC-2840-4835-B8CC-191F7617B17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CA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4B8F1A2-09AB-A214-EC86-5DF1BC4044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0188326"/>
              </p:ext>
            </p:extLst>
          </p:nvPr>
        </p:nvGraphicFramePr>
        <p:xfrm>
          <a:off x="1006998" y="214666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962436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4A3A92-BB02-88D8-678D-11068FCE2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8897BB4-E5EA-D2DB-E1C0-4BE3EDEFFDD3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</a:p>
        </p:txBody>
      </p:sp>
    </p:spTree>
    <p:extLst>
      <p:ext uri="{BB962C8B-B14F-4D97-AF65-F5344CB8AC3E}">
        <p14:creationId xmlns:p14="http://schemas.microsoft.com/office/powerpoint/2010/main" val="7127009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167B60-A012-1B8E-622D-F922E7B1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6CD1015-C49F-FFA4-10C5-C8D158D51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Multi-Sport</a:t>
            </a:r>
            <a:endParaRPr lang="en-US" sz="4400" baseline="30000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568458-8FAC-2471-5C0C-1AAE93714732}"/>
              </a:ext>
            </a:extLst>
          </p:cNvPr>
          <p:cNvSpPr/>
          <p:nvPr/>
        </p:nvSpPr>
        <p:spPr>
          <a:xfrm>
            <a:off x="6043131" y="3964892"/>
            <a:ext cx="2455919" cy="152495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Events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% 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ast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rth 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uth 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nnipe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02E9C17-6A42-504B-AD1F-C481623F143A}"/>
              </a:ext>
            </a:extLst>
          </p:cNvPr>
          <p:cNvSpPr/>
          <p:nvPr/>
        </p:nvSpPr>
        <p:spPr>
          <a:xfrm>
            <a:off x="8689532" y="2132587"/>
            <a:ext cx="2455919" cy="152495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Participation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ravel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ad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untain Bike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yclocro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816F0-CFA3-6EC7-59FC-D86C4AA0EE0B}"/>
              </a:ext>
            </a:extLst>
          </p:cNvPr>
          <p:cNvSpPr/>
          <p:nvPr/>
        </p:nvSpPr>
        <p:spPr>
          <a:xfrm>
            <a:off x="6047454" y="2128607"/>
            <a:ext cx="2455919" cy="15249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v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a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untain Bik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yclocros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5EFA90-A673-FBBA-B418-17311E8A3DB7}"/>
              </a:ext>
            </a:extLst>
          </p:cNvPr>
          <p:cNvSpPr/>
          <p:nvPr/>
        </p:nvSpPr>
        <p:spPr>
          <a:xfrm>
            <a:off x="8689532" y="3949349"/>
            <a:ext cx="2455919" cy="15249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Interest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ad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untain Bike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yclocross</a:t>
            </a:r>
          </a:p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%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ther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6B55C43-7524-8AC8-0DCC-8AAD63E68298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76A976BE-1D81-1A8C-56D8-D20B41FDBE2F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FE83A0CD-9D9A-24C3-5814-3869DCAF4033}"/>
                </a:ext>
              </a:extLst>
            </p:cNvPr>
            <p:cNvSpPr/>
            <p:nvPr/>
          </p:nvSpPr>
          <p:spPr>
            <a:xfrm>
              <a:off x="7132672" y="2206367"/>
              <a:ext cx="1990688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articipation + Interest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7E592E-A0CD-6131-0BB5-CA81AA23F464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B989AB64-1F33-5800-E980-158C4731A7BE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B1294A09-646E-1850-5C0D-8B063AB84CC6}"/>
                </a:ext>
              </a:extLst>
            </p:cNvPr>
            <p:cNvSpPr/>
            <p:nvPr/>
          </p:nvSpPr>
          <p:spPr>
            <a:xfrm>
              <a:off x="2039536" y="2206367"/>
              <a:ext cx="1648668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ulti-Sport/Multi-Discipline</a:t>
              </a: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DD9E20B-3B9B-D582-5AE2-6145A5C6894B}"/>
              </a:ext>
            </a:extLst>
          </p:cNvPr>
          <p:cNvSpPr/>
          <p:nvPr/>
        </p:nvSpPr>
        <p:spPr>
          <a:xfrm>
            <a:off x="747243" y="2128607"/>
            <a:ext cx="1954957" cy="3344351"/>
          </a:xfrm>
          <a:prstGeom prst="roundRect">
            <a:avLst/>
          </a:prstGeom>
          <a:blipFill>
            <a:blip r:embed="rId3"/>
            <a:srcRect/>
            <a:stretch>
              <a:fillRect l="-45000" r="-4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CA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F546242-5FE3-C772-6AB5-7D2CE1C461F0}"/>
              </a:ext>
            </a:extLst>
          </p:cNvPr>
          <p:cNvSpPr/>
          <p:nvPr/>
        </p:nvSpPr>
        <p:spPr>
          <a:xfrm>
            <a:off x="2862909" y="2128607"/>
            <a:ext cx="673263" cy="673263"/>
          </a:xfrm>
          <a:prstGeom prst="ellipse">
            <a:avLst/>
          </a:prstGeom>
          <a:blipFill>
            <a:blip r:embed="rId4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CA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F12F62A-A175-2AF1-4AC6-54C317E2A880}"/>
              </a:ext>
            </a:extLst>
          </p:cNvPr>
          <p:cNvSpPr/>
          <p:nvPr/>
        </p:nvSpPr>
        <p:spPr>
          <a:xfrm>
            <a:off x="2862909" y="3429000"/>
            <a:ext cx="673263" cy="673263"/>
          </a:xfrm>
          <a:prstGeom prst="ellipse">
            <a:avLst/>
          </a:prstGeom>
          <a:blipFill>
            <a:blip r:embed="rId5"/>
            <a:srcRect/>
            <a:stretch>
              <a:fillRect l="-42000" r="-4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CA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4382F67-F29E-6366-57EE-8C9123357CEA}"/>
              </a:ext>
            </a:extLst>
          </p:cNvPr>
          <p:cNvSpPr/>
          <p:nvPr/>
        </p:nvSpPr>
        <p:spPr>
          <a:xfrm>
            <a:off x="2820481" y="4611758"/>
            <a:ext cx="673263" cy="673263"/>
          </a:xfrm>
          <a:prstGeom prst="ellipse">
            <a:avLst/>
          </a:prstGeom>
          <a:blipFill>
            <a:blip r:embed="rId6"/>
            <a:srcRect/>
            <a:stretch>
              <a:fillRect l="-9000" r="-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CA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20E7F7E-99F0-4AC6-F6EA-43F8560E1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032620"/>
              </p:ext>
            </p:extLst>
          </p:nvPr>
        </p:nvGraphicFramePr>
        <p:xfrm>
          <a:off x="3679902" y="3432208"/>
          <a:ext cx="2075670" cy="1051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75670">
                  <a:extLst>
                    <a:ext uri="{9D8B030D-6E8A-4147-A177-3AD203B41FA5}">
                      <a16:colId xmlns:a16="http://schemas.microsoft.com/office/drawing/2014/main" val="2502320548"/>
                    </a:ext>
                  </a:extLst>
                </a:gridCol>
              </a:tblGrid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Cross-Country (XCO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82600476"/>
                  </a:ext>
                </a:extLst>
              </a:tr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Cross-Country Short Track (XCC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61893721"/>
                  </a:ext>
                </a:extLst>
              </a:tr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Cross-Country Marathon (XCM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16248086"/>
                  </a:ext>
                </a:extLst>
              </a:tr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 dirty="0">
                          <a:effectLst/>
                        </a:rPr>
                        <a:t>Cross-Country Time Trial (XC TT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95949247"/>
                  </a:ext>
                </a:extLst>
              </a:tr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Enduro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30991679"/>
                  </a:ext>
                </a:extLst>
              </a:tr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Downhill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73107036"/>
                  </a:ext>
                </a:extLst>
              </a:tr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Stage Races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52236073"/>
                  </a:ext>
                </a:extLst>
              </a:tr>
              <a:tr h="12896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Relay events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2188393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A2AE9ED-C80C-D6D2-337D-BD0B4B871C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156909"/>
              </p:ext>
            </p:extLst>
          </p:nvPr>
        </p:nvGraphicFramePr>
        <p:xfrm>
          <a:off x="3679902" y="4624385"/>
          <a:ext cx="2075670" cy="8485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75670">
                  <a:extLst>
                    <a:ext uri="{9D8B030D-6E8A-4147-A177-3AD203B41FA5}">
                      <a16:colId xmlns:a16="http://schemas.microsoft.com/office/drawing/2014/main" val="538182241"/>
                    </a:ext>
                  </a:extLst>
                </a:gridCol>
              </a:tblGrid>
              <a:tr h="14142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Standard Race (CX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48457244"/>
                  </a:ext>
                </a:extLst>
              </a:tr>
              <a:tr h="14142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 dirty="0">
                          <a:effectLst/>
                        </a:rPr>
                        <a:t>Cyclocross Time Trial (CX TT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21906344"/>
                  </a:ext>
                </a:extLst>
              </a:tr>
              <a:tr h="14142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Relay Cylcocross Race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45667044"/>
                  </a:ext>
                </a:extLst>
              </a:tr>
              <a:tr h="14142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Short Track Cyclocross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33606736"/>
                  </a:ext>
                </a:extLst>
              </a:tr>
              <a:tr h="14142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Cyclocross Eliminator (XCX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44709771"/>
                  </a:ext>
                </a:extLst>
              </a:tr>
              <a:tr h="14142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Winter Cyclocross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77719840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6EB1AEA-B467-1A90-16D4-9431C39428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493604"/>
              </p:ext>
            </p:extLst>
          </p:nvPr>
        </p:nvGraphicFramePr>
        <p:xfrm>
          <a:off x="3679902" y="2089344"/>
          <a:ext cx="2075670" cy="1183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75670">
                  <a:extLst>
                    <a:ext uri="{9D8B030D-6E8A-4147-A177-3AD203B41FA5}">
                      <a16:colId xmlns:a16="http://schemas.microsoft.com/office/drawing/2014/main" val="3721296419"/>
                    </a:ext>
                  </a:extLst>
                </a:gridCol>
              </a:tblGrid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Time Trial (ITT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91384284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Time Trial (TTT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53784093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Criterium (Crit)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13641143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Circuit Race 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0703239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Road Race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09319119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Stage Race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09071268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Gran Fondo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7099426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Handicap / Pursuit Road Race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52770145"/>
                  </a:ext>
                </a:extLst>
              </a:tr>
              <a:tr h="12708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CA" sz="800" u="none" strike="noStrike" dirty="0">
                          <a:effectLst/>
                        </a:rPr>
                        <a:t>Gravel</a:t>
                      </a:r>
                      <a:endParaRPr lang="en-CA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48251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00454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Multi-Sport/Club Events</a:t>
            </a:r>
            <a:endParaRPr lang="en-US" sz="4400" dirty="0">
              <a:highlight>
                <a:srgbClr val="FFFF00"/>
              </a:highligh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DDFAA-55B7-53CB-D72B-7BCDEB139D18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A6CFAD00-86C0-361C-76A2-A53E5C9544E6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DEA3A3FA-0489-F0C1-B36D-7C10342AD292}"/>
                </a:ext>
              </a:extLst>
            </p:cNvPr>
            <p:cNvSpPr/>
            <p:nvPr/>
          </p:nvSpPr>
          <p:spPr>
            <a:xfrm>
              <a:off x="7412111" y="2206367"/>
              <a:ext cx="1431794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vent Summar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FFF7DDF-3172-1A6E-8F2E-BE893292F001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BA0DF6BE-3091-4ACE-1382-A355B9D44C71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D69990C4-B630-6B68-165A-3D9EBC0E6F11}"/>
                </a:ext>
              </a:extLst>
            </p:cNvPr>
            <p:cNvSpPr/>
            <p:nvPr/>
          </p:nvSpPr>
          <p:spPr>
            <a:xfrm>
              <a:off x="2322470" y="2206367"/>
              <a:ext cx="1082802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-Year Event Trend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E6AFEA2-C612-842C-8FCB-6791B8B36864}"/>
              </a:ext>
            </a:extLst>
          </p:cNvPr>
          <p:cNvSpPr/>
          <p:nvPr/>
        </p:nvSpPr>
        <p:spPr>
          <a:xfrm>
            <a:off x="6047455" y="3947996"/>
            <a:ext cx="1611041" cy="15249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8F0544-6030-2EF7-10D6-3D93B632F1BC}"/>
              </a:ext>
            </a:extLst>
          </p:cNvPr>
          <p:cNvSpPr/>
          <p:nvPr/>
        </p:nvSpPr>
        <p:spPr>
          <a:xfrm>
            <a:off x="7816548" y="2128606"/>
            <a:ext cx="1611041" cy="152495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08B550-4F45-BE1B-D91F-E72287EA0212}"/>
              </a:ext>
            </a:extLst>
          </p:cNvPr>
          <p:cNvSpPr/>
          <p:nvPr/>
        </p:nvSpPr>
        <p:spPr>
          <a:xfrm>
            <a:off x="5928583" y="2128606"/>
            <a:ext cx="1761521" cy="153813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r>
              <a:rPr lang="en-US" sz="16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225829-514E-C24C-3E06-3765C9ACFE9F}"/>
              </a:ext>
            </a:extLst>
          </p:cNvPr>
          <p:cNvSpPr/>
          <p:nvPr/>
        </p:nvSpPr>
        <p:spPr>
          <a:xfrm>
            <a:off x="7816549" y="3947996"/>
            <a:ext cx="1611041" cy="152495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 Official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Road</a:t>
            </a: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MTB</a:t>
            </a: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CX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D054F9-7DDC-CA3F-CD90-7203B24B7CE9}"/>
              </a:ext>
            </a:extLst>
          </p:cNvPr>
          <p:cNvSpPr/>
          <p:nvPr/>
        </p:nvSpPr>
        <p:spPr>
          <a:xfrm>
            <a:off x="9585642" y="2128606"/>
            <a:ext cx="1611041" cy="152495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ing Club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574906-FB20-E21C-9937-FF10535A551F}"/>
              </a:ext>
            </a:extLst>
          </p:cNvPr>
          <p:cNvSpPr/>
          <p:nvPr/>
        </p:nvSpPr>
        <p:spPr>
          <a:xfrm>
            <a:off x="9585643" y="3947996"/>
            <a:ext cx="1611041" cy="152495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6C951C1-8DC0-F0AF-C41A-0C848A46B627}"/>
              </a:ext>
            </a:extLst>
          </p:cNvPr>
          <p:cNvSpPr txBox="1">
            <a:spLocks/>
          </p:cNvSpPr>
          <p:nvPr/>
        </p:nvSpPr>
        <p:spPr>
          <a:xfrm>
            <a:off x="532888" y="5486400"/>
            <a:ext cx="11070848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 sz="9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9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8654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Courier New" pitchFamily="49" charset="0"/>
              <a:buChar char="o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31538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4423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Note 1: Events include sanctioned events found on MCA’s </a:t>
            </a:r>
            <a:r>
              <a:rPr lang="en-US" dirty="0">
                <a:solidFill>
                  <a:schemeClr val="tx1"/>
                </a:solidFill>
                <a:hlinkClick r:id="rId3"/>
              </a:rPr>
              <a:t>Event Archive</a:t>
            </a:r>
            <a:r>
              <a:rPr lang="en-US" dirty="0">
                <a:solidFill>
                  <a:schemeClr val="tx1"/>
                </a:solidFill>
              </a:rPr>
              <a:t> page</a:t>
            </a:r>
          </a:p>
          <a:p>
            <a:r>
              <a:rPr lang="en-US" dirty="0">
                <a:solidFill>
                  <a:schemeClr val="tx1"/>
                </a:solidFill>
              </a:rPr>
              <a:t>Note 2: Survey results completed for Road + MTB. In progress for CX.</a:t>
            </a:r>
          </a:p>
          <a:p>
            <a:r>
              <a:rPr lang="en-US" dirty="0">
                <a:solidFill>
                  <a:schemeClr val="tx1"/>
                </a:solidFill>
              </a:rPr>
              <a:t>Note 3: Organizing Clubs: Red River Cycling ,Bikes + Beyond Sports Club Inc, Country Cycle, Dark Red Racing, F.O.G, Green Route Cycling Club, Olympia Cycle + Ski,  Provincial Program, Velodonnas, Prairie Mountain Cycling, Neepawa, Woodcock Cycle Works, Southwood Cycle</a:t>
            </a:r>
          </a:p>
          <a:p>
            <a:r>
              <a:rPr lang="en-US" dirty="0">
                <a:solidFill>
                  <a:schemeClr val="tx1"/>
                </a:solidFill>
              </a:rPr>
              <a:t>Note 4: 2026 Race Calendar Meeting: </a:t>
            </a:r>
            <a:r>
              <a:rPr lang="en-US" b="1" dirty="0">
                <a:solidFill>
                  <a:srgbClr val="F4BF0B"/>
                </a:solidFill>
              </a:rPr>
              <a:t>Jan 14, 2026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 descr="Two men riding bikes on a track&#10;&#10;Description automatically generated">
            <a:extLst>
              <a:ext uri="{FF2B5EF4-FFF2-40B4-BE49-F238E27FC236}">
                <a16:creationId xmlns:a16="http://schemas.microsoft.com/office/drawing/2014/main" id="{8DC000E2-53C2-1C69-43E6-5B1F9C14D93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7024" y="3959352"/>
            <a:ext cx="1764792" cy="1527048"/>
          </a:xfrm>
          <a:prstGeom prst="rect">
            <a:avLst/>
          </a:prstGeom>
        </p:spPr>
      </p:pic>
      <p:pic>
        <p:nvPicPr>
          <p:cNvPr id="15" name="Picture 14" descr="A group of people riding bikes&#10;&#10;AI-generated content may be incorrect.">
            <a:extLst>
              <a:ext uri="{FF2B5EF4-FFF2-40B4-BE49-F238E27FC236}">
                <a16:creationId xmlns:a16="http://schemas.microsoft.com/office/drawing/2014/main" id="{CE2D95FE-1215-53C7-9151-54E077FCA1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816547" y="2128606"/>
            <a:ext cx="1611041" cy="1538137"/>
          </a:xfrm>
          <a:prstGeom prst="rect">
            <a:avLst/>
          </a:prstGeom>
        </p:spPr>
      </p:pic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AA9E438A-D4BB-F474-62DF-0A320F2955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4699958"/>
              </p:ext>
            </p:extLst>
          </p:nvPr>
        </p:nvGraphicFramePr>
        <p:xfrm>
          <a:off x="877038" y="206505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9" name="Picture 18" descr="A group of people riding bicycles&#10;&#10;AI-generated content may be incorrect.">
            <a:extLst>
              <a:ext uri="{FF2B5EF4-FFF2-40B4-BE49-F238E27FC236}">
                <a16:creationId xmlns:a16="http://schemas.microsoft.com/office/drawing/2014/main" id="{2C6AC871-F068-CA2C-E23C-D2870E0EDC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642" y="3959353"/>
            <a:ext cx="1611041" cy="1513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386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32F5AA-5D8C-1E68-8AD4-6D124AFD3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37FC8D-F4E4-3F7C-7BA0-9D175726C694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 COMMITTEES</a:t>
            </a:r>
          </a:p>
        </p:txBody>
      </p:sp>
    </p:spTree>
    <p:extLst>
      <p:ext uri="{BB962C8B-B14F-4D97-AF65-F5344CB8AC3E}">
        <p14:creationId xmlns:p14="http://schemas.microsoft.com/office/powerpoint/2010/main" val="1533710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TO ORDER </a:t>
            </a:r>
          </a:p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OPENING REMARKS</a:t>
            </a:r>
          </a:p>
          <a:p>
            <a:pPr algn="ctr"/>
            <a:endParaRPr lang="en-US" sz="6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1372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9FCFEA-56EE-6BDA-A447-72D804795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36AEEC9-A214-8D43-3D4B-4AE634F57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-97029"/>
            <a:ext cx="11122146" cy="2006640"/>
          </a:xfrm>
        </p:spPr>
        <p:txBody>
          <a:bodyPr/>
          <a:lstStyle/>
          <a:p>
            <a:r>
              <a:rPr lang="en-US" sz="4400" dirty="0"/>
              <a:t>Canada Games Legacy Venue</a:t>
            </a:r>
            <a:br>
              <a:rPr lang="en-US" sz="4400" dirty="0"/>
            </a:br>
            <a:r>
              <a:rPr lang="en-US" sz="4400" b="0" dirty="0"/>
              <a:t>Bison Butte: Multi-use public trails</a:t>
            </a:r>
            <a:br>
              <a:rPr lang="en-US" sz="4400" b="0" dirty="0"/>
            </a:br>
            <a:r>
              <a:rPr lang="en-US" sz="2000" b="0" dirty="0"/>
              <a:t>2014-2025</a:t>
            </a:r>
            <a:endParaRPr lang="en-US" sz="2000" b="0" dirty="0">
              <a:highlight>
                <a:srgbClr val="FFFF00"/>
              </a:highligh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84D79F0-0177-687F-17E7-3D93C09C982A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65A28AFA-8980-0043-4CFD-A2CE1497F30A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D5DF00E7-4FDC-6A7A-9630-4AE521DAE48D}"/>
                </a:ext>
              </a:extLst>
            </p:cNvPr>
            <p:cNvSpPr/>
            <p:nvPr/>
          </p:nvSpPr>
          <p:spPr>
            <a:xfrm>
              <a:off x="7647791" y="2206367"/>
              <a:ext cx="960432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mmar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CCA8A00-488A-F8A4-0D0F-707529D5857D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4F719873-1779-F74B-9F6C-3FED2D852C32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5E559BA1-A154-D46E-9BDB-CDC177E520C9}"/>
                </a:ext>
              </a:extLst>
            </p:cNvPr>
            <p:cNvSpPr/>
            <p:nvPr/>
          </p:nvSpPr>
          <p:spPr>
            <a:xfrm>
              <a:off x="2495737" y="2206367"/>
              <a:ext cx="736267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munity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7ABE83B-BFAE-F103-3B0A-4B9E0CFF5B1B}"/>
              </a:ext>
            </a:extLst>
          </p:cNvPr>
          <p:cNvSpPr/>
          <p:nvPr/>
        </p:nvSpPr>
        <p:spPr>
          <a:xfrm>
            <a:off x="6970999" y="3838268"/>
            <a:ext cx="1611041" cy="15292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Tea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529752-4419-BFED-AEAB-A67D1275DA12}"/>
              </a:ext>
            </a:extLst>
          </p:cNvPr>
          <p:cNvSpPr/>
          <p:nvPr/>
        </p:nvSpPr>
        <p:spPr>
          <a:xfrm>
            <a:off x="8703516" y="2174326"/>
            <a:ext cx="1611041" cy="152495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nsored Dig Nigh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9E489E-3767-A9C6-22B7-527BBA482602}"/>
              </a:ext>
            </a:extLst>
          </p:cNvPr>
          <p:cNvSpPr/>
          <p:nvPr/>
        </p:nvSpPr>
        <p:spPr>
          <a:xfrm>
            <a:off x="6952711" y="2183470"/>
            <a:ext cx="1611041" cy="15249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b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 Members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ACB35F-1AEB-3E9E-1A26-D7E0DF26B184}"/>
              </a:ext>
            </a:extLst>
          </p:cNvPr>
          <p:cNvSpPr/>
          <p:nvPr/>
        </p:nvSpPr>
        <p:spPr>
          <a:xfrm>
            <a:off x="8726106" y="3820246"/>
            <a:ext cx="1611041" cy="155642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6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mun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nteer Hours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64807FC7-638B-6EA7-9AB0-45B3523C65C7}"/>
              </a:ext>
            </a:extLst>
          </p:cNvPr>
          <p:cNvSpPr txBox="1">
            <a:spLocks/>
          </p:cNvSpPr>
          <p:nvPr/>
        </p:nvSpPr>
        <p:spPr>
          <a:xfrm>
            <a:off x="532888" y="5413248"/>
            <a:ext cx="11052560" cy="6924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 sz="9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9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8654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Courier New" pitchFamily="49" charset="0"/>
              <a:buChar char="o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31538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4423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Note 1: Visit Bison Butte trails Facebook Page for trail updates</a:t>
            </a:r>
          </a:p>
          <a:p>
            <a:r>
              <a:rPr lang="en-US" dirty="0">
                <a:solidFill>
                  <a:schemeClr val="tx1"/>
                </a:solidFill>
              </a:rPr>
              <a:t>Note 2: Thank you to Dig Night Sponsors:  Alter Ego, Woodcock Cycle Works, Olympia Cycle + Ski, Bikes + Beyond Sports Club Inc</a:t>
            </a:r>
          </a:p>
          <a:p>
            <a:r>
              <a:rPr lang="en-US" dirty="0">
                <a:solidFill>
                  <a:schemeClr val="tx1"/>
                </a:solidFill>
              </a:rPr>
              <a:t>Note 3: Thank you to Committee Members: Rob Patchell, Dave Ternier, Kevin Braun, Ian Barnett, Alex Man, Darcy Beer, Mike Pare </a:t>
            </a:r>
          </a:p>
          <a:p>
            <a:r>
              <a:rPr lang="en-US" dirty="0">
                <a:solidFill>
                  <a:schemeClr val="tx1"/>
                </a:solidFill>
              </a:rPr>
              <a:t>Note 4: Thank you to Green Team Summer Staff: Kristian Finlay, Duncan McGowan, Lachlan Martin, Marcus Huebner</a:t>
            </a:r>
          </a:p>
          <a:p>
            <a:r>
              <a:rPr lang="en-US" dirty="0">
                <a:solidFill>
                  <a:schemeClr val="tx1"/>
                </a:solidFill>
              </a:rPr>
              <a:t>Note 4:  Funding + Support: Green Team, Manitoba Trails (MRTA), Element B Graphic design + many in-kind donations from volunteers </a:t>
            </a:r>
          </a:p>
        </p:txBody>
      </p:sp>
      <p:pic>
        <p:nvPicPr>
          <p:cNvPr id="8" name="Picture 7" descr="A group of people building a fire pit&#10;&#10;Description automatically generated">
            <a:extLst>
              <a:ext uri="{FF2B5EF4-FFF2-40B4-BE49-F238E27FC236}">
                <a16:creationId xmlns:a16="http://schemas.microsoft.com/office/drawing/2014/main" id="{E5156CEB-0A19-12D0-F665-3A75F93A80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7016" y="3794760"/>
            <a:ext cx="2032872" cy="1481328"/>
          </a:xfrm>
          <a:prstGeom prst="rect">
            <a:avLst/>
          </a:prstGeom>
        </p:spPr>
      </p:pic>
      <p:pic>
        <p:nvPicPr>
          <p:cNvPr id="18" name="Picture 17" descr="A dirt path through a field&#10;&#10;Description automatically generated with medium confidence">
            <a:extLst>
              <a:ext uri="{FF2B5EF4-FFF2-40B4-BE49-F238E27FC236}">
                <a16:creationId xmlns:a16="http://schemas.microsoft.com/office/drawing/2014/main" id="{7ADC3912-178B-FC52-F060-1D389C1253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984" y="3767328"/>
            <a:ext cx="2032872" cy="1501769"/>
          </a:xfrm>
          <a:prstGeom prst="rect">
            <a:avLst/>
          </a:prstGeom>
        </p:spPr>
      </p:pic>
      <p:pic>
        <p:nvPicPr>
          <p:cNvPr id="4" name="Picture 3" descr="A group of people standing in front of a trailer&#10;&#10;AI-generated content may be incorrect.">
            <a:extLst>
              <a:ext uri="{FF2B5EF4-FFF2-40B4-BE49-F238E27FC236}">
                <a16:creationId xmlns:a16="http://schemas.microsoft.com/office/drawing/2014/main" id="{144CA047-7D54-D7F7-A84B-8D58EA1C84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984" y="2130552"/>
            <a:ext cx="2046739" cy="1535055"/>
          </a:xfrm>
          <a:prstGeom prst="rect">
            <a:avLst/>
          </a:prstGeom>
        </p:spPr>
      </p:pic>
      <p:pic>
        <p:nvPicPr>
          <p:cNvPr id="6" name="Picture 5" descr="A grassy field with rocks and trees&#10;&#10;AI-generated content may be incorrect.">
            <a:extLst>
              <a:ext uri="{FF2B5EF4-FFF2-40B4-BE49-F238E27FC236}">
                <a16:creationId xmlns:a16="http://schemas.microsoft.com/office/drawing/2014/main" id="{2A93C9F7-91E6-E3F9-6506-7AF3355E44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7016" y="2130553"/>
            <a:ext cx="2033277" cy="1524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1373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B0F7E-5390-8845-F783-A6B7CAB46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8B57811-66BB-37C2-55EF-89CEDEA4C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-909559"/>
            <a:ext cx="11122146" cy="2819170"/>
          </a:xfrm>
        </p:spPr>
        <p:txBody>
          <a:bodyPr/>
          <a:lstStyle/>
          <a:p>
            <a:br>
              <a:rPr lang="en-US" sz="4400" dirty="0"/>
            </a:br>
            <a:r>
              <a:rPr lang="en-US" sz="4400" b="0" dirty="0"/>
              <a:t>Women’s sub-committee for </a:t>
            </a:r>
            <a:br>
              <a:rPr lang="en-US" sz="4400" b="0" dirty="0"/>
            </a:br>
            <a:r>
              <a:rPr lang="en-US" sz="4400" b="0" dirty="0"/>
              <a:t>safe inclusive sport</a:t>
            </a:r>
            <a:br>
              <a:rPr lang="en-US" sz="4400" b="0" dirty="0"/>
            </a:br>
            <a:r>
              <a:rPr lang="en-US" sz="2000" b="0" dirty="0"/>
              <a:t>2014-2025</a:t>
            </a:r>
            <a:endParaRPr lang="en-US" sz="2000" b="0" dirty="0">
              <a:highlight>
                <a:srgbClr val="FFFF00"/>
              </a:highligh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CD83C86-4465-EA36-3AE5-282CCD00F51E}"/>
              </a:ext>
            </a:extLst>
          </p:cNvPr>
          <p:cNvGrpSpPr/>
          <p:nvPr/>
        </p:nvGrpSpPr>
        <p:grpSpPr>
          <a:xfrm>
            <a:off x="5996219" y="1724945"/>
            <a:ext cx="5200465" cy="184666"/>
            <a:chOff x="4978400" y="2206367"/>
            <a:chExt cx="6299200" cy="184666"/>
          </a:xfrm>
        </p:grpSpPr>
        <p:cxnSp>
          <p:nvCxnSpPr>
            <p:cNvPr id="26" name="iBar:392/196">
              <a:extLst>
                <a:ext uri="{FF2B5EF4-FFF2-40B4-BE49-F238E27FC236}">
                  <a16:creationId xmlns:a16="http://schemas.microsoft.com/office/drawing/2014/main" id="{C8F7D8B0-6EDC-05F1-867F-19FE20D147B1}"/>
                </a:ext>
              </a:extLst>
            </p:cNvPr>
            <p:cNvCxnSpPr/>
            <p:nvPr/>
          </p:nvCxnSpPr>
          <p:spPr>
            <a:xfrm>
              <a:off x="4978400" y="2298700"/>
              <a:ext cx="62992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xtBox:392/196">
              <a:extLst>
                <a:ext uri="{FF2B5EF4-FFF2-40B4-BE49-F238E27FC236}">
                  <a16:creationId xmlns:a16="http://schemas.microsoft.com/office/drawing/2014/main" id="{8B8DAE5E-17C5-52E7-2614-6FBB7D89235F}"/>
                </a:ext>
              </a:extLst>
            </p:cNvPr>
            <p:cNvSpPr/>
            <p:nvPr/>
          </p:nvSpPr>
          <p:spPr>
            <a:xfrm>
              <a:off x="7647791" y="2206367"/>
              <a:ext cx="960432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mmar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9903882-C9DF-DF9B-3BFF-573B36999248}"/>
              </a:ext>
            </a:extLst>
          </p:cNvPr>
          <p:cNvGrpSpPr/>
          <p:nvPr/>
        </p:nvGrpSpPr>
        <p:grpSpPr>
          <a:xfrm>
            <a:off x="830425" y="1724945"/>
            <a:ext cx="4925147" cy="184666"/>
            <a:chOff x="914400" y="2206367"/>
            <a:chExt cx="3898900" cy="184666"/>
          </a:xfrm>
        </p:grpSpPr>
        <p:cxnSp>
          <p:nvCxnSpPr>
            <p:cNvPr id="29" name="iBar:72/196">
              <a:extLst>
                <a:ext uri="{FF2B5EF4-FFF2-40B4-BE49-F238E27FC236}">
                  <a16:creationId xmlns:a16="http://schemas.microsoft.com/office/drawing/2014/main" id="{D3338CB2-C5AF-7584-8807-AF5ADC6EFE03}"/>
                </a:ext>
              </a:extLst>
            </p:cNvPr>
            <p:cNvCxnSpPr/>
            <p:nvPr/>
          </p:nvCxnSpPr>
          <p:spPr>
            <a:xfrm>
              <a:off x="914400" y="2298700"/>
              <a:ext cx="3898900" cy="0"/>
            </a:xfrm>
            <a:prstGeom prst="line">
              <a:avLst/>
            </a:prstGeom>
            <a:ln w="12700">
              <a:solidFill>
                <a:srgbClr val="00277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xtBox:72/196">
              <a:extLst>
                <a:ext uri="{FF2B5EF4-FFF2-40B4-BE49-F238E27FC236}">
                  <a16:creationId xmlns:a16="http://schemas.microsoft.com/office/drawing/2014/main" id="{4CA5E1D0-E17D-EBDF-C37B-A109D20EA8C3}"/>
                </a:ext>
              </a:extLst>
            </p:cNvPr>
            <p:cNvSpPr/>
            <p:nvPr/>
          </p:nvSpPr>
          <p:spPr>
            <a:xfrm>
              <a:off x="2495737" y="2206367"/>
              <a:ext cx="736267" cy="18466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munity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A519C86-7292-D0C1-E5A4-66857E81335D}"/>
              </a:ext>
            </a:extLst>
          </p:cNvPr>
          <p:cNvSpPr/>
          <p:nvPr/>
        </p:nvSpPr>
        <p:spPr>
          <a:xfrm>
            <a:off x="6970999" y="3838268"/>
            <a:ext cx="1611041" cy="15292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ginner Clinics - 27 participa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al Race Mee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ub Suppor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7A7FC4-350F-9DB1-B6B4-32421C0A6BC5}"/>
              </a:ext>
            </a:extLst>
          </p:cNvPr>
          <p:cNvSpPr/>
          <p:nvPr/>
        </p:nvSpPr>
        <p:spPr>
          <a:xfrm>
            <a:off x="8703516" y="2174326"/>
            <a:ext cx="1611041" cy="152495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4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b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bassadors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FE30800-B632-AC33-DD08-FD50FCC716D7}"/>
              </a:ext>
            </a:extLst>
          </p:cNvPr>
          <p:cNvSpPr/>
          <p:nvPr/>
        </p:nvSpPr>
        <p:spPr>
          <a:xfrm>
            <a:off x="6952711" y="2183470"/>
            <a:ext cx="1611041" cy="15249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b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 Members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3E9EE2-3390-4997-959F-C5D8BF25AF5C}"/>
              </a:ext>
            </a:extLst>
          </p:cNvPr>
          <p:cNvSpPr/>
          <p:nvPr/>
        </p:nvSpPr>
        <p:spPr>
          <a:xfrm>
            <a:off x="8726106" y="3820246"/>
            <a:ext cx="1611041" cy="155642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9301540B-4749-83E9-01E7-5BA09640819D}"/>
              </a:ext>
            </a:extLst>
          </p:cNvPr>
          <p:cNvSpPr txBox="1">
            <a:spLocks/>
          </p:cNvSpPr>
          <p:nvPr/>
        </p:nvSpPr>
        <p:spPr>
          <a:xfrm>
            <a:off x="532888" y="5413248"/>
            <a:ext cx="11052560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 sz="9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9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8654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Courier New" pitchFamily="49" charset="0"/>
              <a:buChar char="o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31538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4423" indent="-182885" algn="l" defTabSz="914423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200" kern="120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Note 1:  Thank you to committee members: Agnieszka Gigiel, Twila Fillion, Bernadine Kostyk, Karin McSherrry, and Stephanie Keith  </a:t>
            </a:r>
          </a:p>
          <a:p>
            <a:r>
              <a:rPr lang="en-US" dirty="0">
                <a:solidFill>
                  <a:schemeClr val="tx1"/>
                </a:solidFill>
              </a:rPr>
              <a:t>Note 2:  Committee was formed in 2025 in response to the 2024 MCA race survey  </a:t>
            </a:r>
          </a:p>
          <a:p>
            <a:r>
              <a:rPr lang="en-US" dirty="0">
                <a:solidFill>
                  <a:schemeClr val="tx1"/>
                </a:solidFill>
              </a:rPr>
              <a:t>Note 3: Velodonnas Cycling Club partnered with MCA to run a Girls Cycling Camp</a:t>
            </a:r>
          </a:p>
        </p:txBody>
      </p:sp>
      <p:pic>
        <p:nvPicPr>
          <p:cNvPr id="6" name="Picture 5" descr="A group of women wearing pink shirts&#10;&#10;AI-generated content may be incorrect.">
            <a:extLst>
              <a:ext uri="{FF2B5EF4-FFF2-40B4-BE49-F238E27FC236}">
                <a16:creationId xmlns:a16="http://schemas.microsoft.com/office/drawing/2014/main" id="{0676BEB3-B506-0E2B-0BD1-892B26F516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5" y="1955331"/>
            <a:ext cx="4876800" cy="3365585"/>
          </a:xfrm>
          <a:prstGeom prst="rect">
            <a:avLst/>
          </a:prstGeom>
        </p:spPr>
      </p:pic>
      <p:pic>
        <p:nvPicPr>
          <p:cNvPr id="4" name="Picture 3" descr="A group of people standing under a tent&#10;&#10;AI-generated content may be incorrect.">
            <a:extLst>
              <a:ext uri="{FF2B5EF4-FFF2-40B4-BE49-F238E27FC236}">
                <a16:creationId xmlns:a16="http://schemas.microsoft.com/office/drawing/2014/main" id="{897123A6-1AC4-B746-5FF0-9902C8948A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6106" y="3838268"/>
            <a:ext cx="1611041" cy="153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2213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AL REPORTS</a:t>
            </a:r>
          </a:p>
          <a:p>
            <a:pPr algn="ctr"/>
            <a:endParaRPr lang="en-US" sz="6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1462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D6A4E1-283A-9C7B-E653-7C206192C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arallelogram 143">
            <a:extLst>
              <a:ext uri="{FF2B5EF4-FFF2-40B4-BE49-F238E27FC236}">
                <a16:creationId xmlns:a16="http://schemas.microsoft.com/office/drawing/2014/main" id="{3E91A3F5-616B-A9D7-939E-B8B5C003E599}"/>
              </a:ext>
            </a:extLst>
          </p:cNvPr>
          <p:cNvSpPr/>
          <p:nvPr/>
        </p:nvSpPr>
        <p:spPr>
          <a:xfrm rot="300000">
            <a:off x="442495" y="5084903"/>
            <a:ext cx="3079782" cy="714762"/>
          </a:xfrm>
          <a:prstGeom prst="parallelogram">
            <a:avLst>
              <a:gd name="adj" fmla="val 129308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xecutive Director</a:t>
            </a:r>
          </a:p>
        </p:txBody>
      </p:sp>
      <p:sp>
        <p:nvSpPr>
          <p:cNvPr id="71" name="Parallelogram 70">
            <a:extLst>
              <a:ext uri="{FF2B5EF4-FFF2-40B4-BE49-F238E27FC236}">
                <a16:creationId xmlns:a16="http://schemas.microsoft.com/office/drawing/2014/main" id="{DAB4DE29-A05B-2C3B-6DFF-4FA5BCEDF880}"/>
              </a:ext>
            </a:extLst>
          </p:cNvPr>
          <p:cNvSpPr/>
          <p:nvPr/>
        </p:nvSpPr>
        <p:spPr>
          <a:xfrm rot="300000">
            <a:off x="393634" y="4453326"/>
            <a:ext cx="3079782" cy="714762"/>
          </a:xfrm>
          <a:prstGeom prst="parallelogram">
            <a:avLst>
              <a:gd name="adj" fmla="val 129308"/>
            </a:avLst>
          </a:prstGeom>
          <a:solidFill>
            <a:srgbClr val="7030A0">
              <a:alpha val="82000"/>
            </a:srgbClr>
          </a:soli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rketing + Communications</a:t>
            </a:r>
          </a:p>
        </p:txBody>
      </p:sp>
      <p:sp>
        <p:nvSpPr>
          <p:cNvPr id="60" name="Parallelogram 59">
            <a:extLst>
              <a:ext uri="{FF2B5EF4-FFF2-40B4-BE49-F238E27FC236}">
                <a16:creationId xmlns:a16="http://schemas.microsoft.com/office/drawing/2014/main" id="{98FC52F9-091C-7223-1D20-C8C88F24A5C3}"/>
              </a:ext>
            </a:extLst>
          </p:cNvPr>
          <p:cNvSpPr/>
          <p:nvPr/>
        </p:nvSpPr>
        <p:spPr>
          <a:xfrm rot="300000">
            <a:off x="393633" y="3880490"/>
            <a:ext cx="3079782" cy="714762"/>
          </a:xfrm>
          <a:prstGeom prst="parallelogram">
            <a:avLst>
              <a:gd name="adj" fmla="val 129308"/>
            </a:avLst>
          </a:prstGeom>
          <a:solidFill>
            <a:srgbClr val="11AFE9"/>
          </a:soli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ycling for All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Parallelogram 144">
            <a:extLst>
              <a:ext uri="{FF2B5EF4-FFF2-40B4-BE49-F238E27FC236}">
                <a16:creationId xmlns:a16="http://schemas.microsoft.com/office/drawing/2014/main" id="{BAAB9602-AC79-DF82-7814-72CE937D3E7A}"/>
              </a:ext>
            </a:extLst>
          </p:cNvPr>
          <p:cNvSpPr/>
          <p:nvPr/>
        </p:nvSpPr>
        <p:spPr>
          <a:xfrm rot="300000">
            <a:off x="294164" y="3281584"/>
            <a:ext cx="3079782" cy="714762"/>
          </a:xfrm>
          <a:prstGeom prst="parallelogram">
            <a:avLst>
              <a:gd name="adj" fmla="val 129308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yclocross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ED5D5F7-A4B1-366C-3C11-C092D9984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0260803" cy="783997"/>
          </a:xfrm>
        </p:spPr>
        <p:txBody>
          <a:bodyPr/>
          <a:lstStyle/>
          <a:p>
            <a:pPr algn="r"/>
            <a:r>
              <a:rPr lang="en-US" sz="4400" dirty="0"/>
              <a:t>ANNUAL REPORTS</a:t>
            </a:r>
          </a:p>
        </p:txBody>
      </p:sp>
      <p:sp>
        <p:nvSpPr>
          <p:cNvPr id="61" name="Parallelogram 60">
            <a:extLst>
              <a:ext uri="{FF2B5EF4-FFF2-40B4-BE49-F238E27FC236}">
                <a16:creationId xmlns:a16="http://schemas.microsoft.com/office/drawing/2014/main" id="{DDB228C3-BEC2-7CB5-B0A6-378461DA9DC0}"/>
              </a:ext>
            </a:extLst>
          </p:cNvPr>
          <p:cNvSpPr/>
          <p:nvPr/>
        </p:nvSpPr>
        <p:spPr>
          <a:xfrm rot="300000">
            <a:off x="393633" y="2734357"/>
            <a:ext cx="3079782" cy="714762"/>
          </a:xfrm>
          <a:prstGeom prst="parallelogram">
            <a:avLst>
              <a:gd name="adj" fmla="val 129308"/>
            </a:avLst>
          </a:prstGeom>
          <a:solidFill>
            <a:srgbClr val="0070C0">
              <a:alpha val="82000"/>
            </a:srgbClr>
          </a:soli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untain bike</a:t>
            </a:r>
          </a:p>
        </p:txBody>
      </p:sp>
      <p:sp>
        <p:nvSpPr>
          <p:cNvPr id="62" name="Parallelogram 61">
            <a:extLst>
              <a:ext uri="{FF2B5EF4-FFF2-40B4-BE49-F238E27FC236}">
                <a16:creationId xmlns:a16="http://schemas.microsoft.com/office/drawing/2014/main" id="{80C0EDBC-8FD0-4724-1D92-50CFF8B97848}"/>
              </a:ext>
            </a:extLst>
          </p:cNvPr>
          <p:cNvSpPr/>
          <p:nvPr/>
        </p:nvSpPr>
        <p:spPr>
          <a:xfrm rot="300000">
            <a:off x="528201" y="2187130"/>
            <a:ext cx="3079782" cy="714762"/>
          </a:xfrm>
          <a:prstGeom prst="parallelogram">
            <a:avLst>
              <a:gd name="adj" fmla="val 129308"/>
            </a:avLst>
          </a:prstGeom>
          <a:solidFill>
            <a:srgbClr val="33B050">
              <a:alpha val="82000"/>
            </a:srgbClr>
          </a:soli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oad</a:t>
            </a:r>
          </a:p>
        </p:txBody>
      </p:sp>
      <p:sp>
        <p:nvSpPr>
          <p:cNvPr id="63" name="Parallelogram 62">
            <a:extLst>
              <a:ext uri="{FF2B5EF4-FFF2-40B4-BE49-F238E27FC236}">
                <a16:creationId xmlns:a16="http://schemas.microsoft.com/office/drawing/2014/main" id="{D0CC5315-D449-CA01-A571-62BFFF419CEC}"/>
              </a:ext>
            </a:extLst>
          </p:cNvPr>
          <p:cNvSpPr/>
          <p:nvPr/>
        </p:nvSpPr>
        <p:spPr>
          <a:xfrm rot="300000">
            <a:off x="662767" y="1677087"/>
            <a:ext cx="3079782" cy="714762"/>
          </a:xfrm>
          <a:prstGeom prst="parallelogram">
            <a:avLst>
              <a:gd name="adj" fmla="val 129308"/>
            </a:avLst>
          </a:prstGeom>
          <a:solidFill>
            <a:srgbClr val="FBC40B">
              <a:alpha val="82000"/>
            </a:srgbClr>
          </a:soli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mpetition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0563459-0BA0-BFC9-E03C-942F4343F26E}"/>
              </a:ext>
            </a:extLst>
          </p:cNvPr>
          <p:cNvGrpSpPr/>
          <p:nvPr/>
        </p:nvGrpSpPr>
        <p:grpSpPr>
          <a:xfrm>
            <a:off x="4367403" y="1897207"/>
            <a:ext cx="6585196" cy="279919"/>
            <a:chOff x="4518232" y="1639694"/>
            <a:chExt cx="6585196" cy="279919"/>
          </a:xfrm>
          <a:solidFill>
            <a:srgbClr val="FBC40B"/>
          </a:solidFill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4538C14-132C-1E2D-C903-98ACE4F54792}"/>
                </a:ext>
              </a:extLst>
            </p:cNvPr>
            <p:cNvSpPr/>
            <p:nvPr/>
          </p:nvSpPr>
          <p:spPr>
            <a:xfrm>
              <a:off x="5747657" y="1639694"/>
              <a:ext cx="5355771" cy="279919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vin Hartle - Director of Competition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3DD6BFA-9E08-29D9-D46F-6F601BA9A13D}"/>
                </a:ext>
              </a:extLst>
            </p:cNvPr>
            <p:cNvCxnSpPr>
              <a:cxnSpLocks/>
              <a:stCxn id="109" idx="1"/>
              <a:endCxn id="111" idx="6"/>
            </p:cNvCxnSpPr>
            <p:nvPr/>
          </p:nvCxnSpPr>
          <p:spPr>
            <a:xfrm flipH="1" flipV="1">
              <a:off x="4779489" y="1779653"/>
              <a:ext cx="968168" cy="1"/>
            </a:xfrm>
            <a:prstGeom prst="line">
              <a:avLst/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97A81B38-8A14-4E07-5FB9-654CE63863B7}"/>
                </a:ext>
              </a:extLst>
            </p:cNvPr>
            <p:cNvSpPr/>
            <p:nvPr/>
          </p:nvSpPr>
          <p:spPr>
            <a:xfrm>
              <a:off x="4518232" y="1649441"/>
              <a:ext cx="261257" cy="260424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2E93590B-E933-FA51-A4D7-DD453EE343A0}"/>
              </a:ext>
            </a:extLst>
          </p:cNvPr>
          <p:cNvGrpSpPr/>
          <p:nvPr/>
        </p:nvGrpSpPr>
        <p:grpSpPr>
          <a:xfrm>
            <a:off x="4367403" y="2471946"/>
            <a:ext cx="6585196" cy="279919"/>
            <a:chOff x="4518232" y="1639694"/>
            <a:chExt cx="6585196" cy="279919"/>
          </a:xfrm>
          <a:solidFill>
            <a:srgbClr val="33B050"/>
          </a:solidFill>
        </p:grpSpPr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B9B349A-CFCD-771E-E97D-832C8FB6EE68}"/>
                </a:ext>
              </a:extLst>
            </p:cNvPr>
            <p:cNvSpPr/>
            <p:nvPr/>
          </p:nvSpPr>
          <p:spPr>
            <a:xfrm>
              <a:off x="5747657" y="1639694"/>
              <a:ext cx="5355771" cy="279919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rnadette Kostyk – Road</a:t>
              </a:r>
            </a:p>
          </p:txBody>
        </p: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99A824C7-6524-21AD-A1C6-318FD3B59609}"/>
                </a:ext>
              </a:extLst>
            </p:cNvPr>
            <p:cNvCxnSpPr>
              <a:cxnSpLocks/>
              <a:stCxn id="113" idx="1"/>
              <a:endCxn id="115" idx="6"/>
            </p:cNvCxnSpPr>
            <p:nvPr/>
          </p:nvCxnSpPr>
          <p:spPr>
            <a:xfrm flipH="1" flipV="1">
              <a:off x="4779489" y="1779653"/>
              <a:ext cx="968168" cy="1"/>
            </a:xfrm>
            <a:prstGeom prst="line">
              <a:avLst/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8D3C3E52-BD01-1959-3F20-3D294B7EE3DC}"/>
                </a:ext>
              </a:extLst>
            </p:cNvPr>
            <p:cNvSpPr/>
            <p:nvPr/>
          </p:nvSpPr>
          <p:spPr>
            <a:xfrm>
              <a:off x="4518232" y="1649441"/>
              <a:ext cx="261257" cy="260424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E908010D-276D-253F-D61C-F282EF5F94F3}"/>
              </a:ext>
            </a:extLst>
          </p:cNvPr>
          <p:cNvGrpSpPr/>
          <p:nvPr/>
        </p:nvGrpSpPr>
        <p:grpSpPr>
          <a:xfrm>
            <a:off x="4367403" y="3024995"/>
            <a:ext cx="6585196" cy="279919"/>
            <a:chOff x="4518232" y="1639694"/>
            <a:chExt cx="6585196" cy="279919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21173D39-53C5-CEDB-9BF9-EBC738157908}"/>
                </a:ext>
              </a:extLst>
            </p:cNvPr>
            <p:cNvSpPr/>
            <p:nvPr/>
          </p:nvSpPr>
          <p:spPr>
            <a:xfrm>
              <a:off x="5747657" y="1639694"/>
              <a:ext cx="5355771" cy="279919"/>
            </a:xfrm>
            <a:prstGeom prst="rect">
              <a:avLst/>
            </a:prstGeom>
            <a:solidFill>
              <a:srgbClr val="0070C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rcy Beer, Mountain Bike</a:t>
              </a:r>
            </a:p>
            <a:p>
              <a:pPr algn="ctr"/>
              <a:endPara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B66C2C38-0F7D-D9A1-378E-2C3CE42B8CA5}"/>
                </a:ext>
              </a:extLst>
            </p:cNvPr>
            <p:cNvCxnSpPr>
              <a:cxnSpLocks/>
              <a:stCxn id="117" idx="1"/>
              <a:endCxn id="119" idx="6"/>
            </p:cNvCxnSpPr>
            <p:nvPr/>
          </p:nvCxnSpPr>
          <p:spPr>
            <a:xfrm flipH="1" flipV="1">
              <a:off x="4779489" y="1779653"/>
              <a:ext cx="968168" cy="1"/>
            </a:xfrm>
            <a:prstGeom prst="line">
              <a:avLst/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64140F74-D44D-D3F6-0BC0-E295AF2E4EBC}"/>
                </a:ext>
              </a:extLst>
            </p:cNvPr>
            <p:cNvSpPr/>
            <p:nvPr/>
          </p:nvSpPr>
          <p:spPr>
            <a:xfrm>
              <a:off x="4518232" y="1649441"/>
              <a:ext cx="261257" cy="260424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F52F52C0-A5AF-4183-10F3-768A131F80DF}"/>
              </a:ext>
            </a:extLst>
          </p:cNvPr>
          <p:cNvGrpSpPr/>
          <p:nvPr/>
        </p:nvGrpSpPr>
        <p:grpSpPr>
          <a:xfrm>
            <a:off x="4367403" y="4087298"/>
            <a:ext cx="6585196" cy="279919"/>
            <a:chOff x="4518232" y="1639694"/>
            <a:chExt cx="6585196" cy="279919"/>
          </a:xfrm>
          <a:solidFill>
            <a:srgbClr val="11AFE9"/>
          </a:solidFill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59542C05-4E97-0E0E-8BEF-2E443EC5D81A}"/>
                </a:ext>
              </a:extLst>
            </p:cNvPr>
            <p:cNvSpPr/>
            <p:nvPr/>
          </p:nvSpPr>
          <p:spPr>
            <a:xfrm>
              <a:off x="5747657" y="1639694"/>
              <a:ext cx="5355771" cy="279919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ila Fillion, Cycling for All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6BCE395F-61B4-8936-A073-2F038638856F}"/>
                </a:ext>
              </a:extLst>
            </p:cNvPr>
            <p:cNvCxnSpPr>
              <a:cxnSpLocks/>
              <a:stCxn id="121" idx="1"/>
              <a:endCxn id="123" idx="6"/>
            </p:cNvCxnSpPr>
            <p:nvPr/>
          </p:nvCxnSpPr>
          <p:spPr>
            <a:xfrm flipH="1" flipV="1">
              <a:off x="4779489" y="1779653"/>
              <a:ext cx="968168" cy="1"/>
            </a:xfrm>
            <a:prstGeom prst="line">
              <a:avLst/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CDE9DC74-486A-6E6F-8126-F30F298B1E91}"/>
                </a:ext>
              </a:extLst>
            </p:cNvPr>
            <p:cNvSpPr/>
            <p:nvPr/>
          </p:nvSpPr>
          <p:spPr>
            <a:xfrm>
              <a:off x="4518232" y="1649441"/>
              <a:ext cx="261257" cy="260424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A0541D1-EB52-3DC9-DC9C-FDF92C9E79ED}"/>
              </a:ext>
            </a:extLst>
          </p:cNvPr>
          <p:cNvGrpSpPr/>
          <p:nvPr/>
        </p:nvGrpSpPr>
        <p:grpSpPr>
          <a:xfrm>
            <a:off x="4367403" y="4743597"/>
            <a:ext cx="6585196" cy="279919"/>
            <a:chOff x="4518232" y="1639694"/>
            <a:chExt cx="6585196" cy="279919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F956C64E-CD67-8355-8A07-8DA49CC82B72}"/>
                </a:ext>
              </a:extLst>
            </p:cNvPr>
            <p:cNvSpPr/>
            <p:nvPr/>
          </p:nvSpPr>
          <p:spPr>
            <a:xfrm>
              <a:off x="5747657" y="1639694"/>
              <a:ext cx="5355771" cy="279919"/>
            </a:xfrm>
            <a:prstGeom prst="rect">
              <a:avLst/>
            </a:prstGeom>
            <a:solidFill>
              <a:srgbClr val="7030A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lan Gilmour &amp; Stephanie Keith, Marketing + Communications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E339DF49-B4AA-E8EB-C2D4-3BCE36413E07}"/>
                </a:ext>
              </a:extLst>
            </p:cNvPr>
            <p:cNvCxnSpPr>
              <a:cxnSpLocks/>
              <a:stCxn id="133" idx="1"/>
              <a:endCxn id="135" idx="6"/>
            </p:cNvCxnSpPr>
            <p:nvPr/>
          </p:nvCxnSpPr>
          <p:spPr>
            <a:xfrm flipH="1" flipV="1">
              <a:off x="4779489" y="1779653"/>
              <a:ext cx="968168" cy="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8DD8E92F-5960-084A-0C85-2C4E37636BAA}"/>
                </a:ext>
              </a:extLst>
            </p:cNvPr>
            <p:cNvSpPr/>
            <p:nvPr/>
          </p:nvSpPr>
          <p:spPr>
            <a:xfrm>
              <a:off x="4518232" y="1649441"/>
              <a:ext cx="261257" cy="260424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7A1996D1-C14F-2FA6-F37E-CB58C7966CC6}"/>
              </a:ext>
            </a:extLst>
          </p:cNvPr>
          <p:cNvGrpSpPr/>
          <p:nvPr/>
        </p:nvGrpSpPr>
        <p:grpSpPr>
          <a:xfrm>
            <a:off x="4367403" y="5331979"/>
            <a:ext cx="6585196" cy="279919"/>
            <a:chOff x="4518232" y="1639694"/>
            <a:chExt cx="6585196" cy="279919"/>
          </a:xfrm>
          <a:solidFill>
            <a:schemeClr val="bg1">
              <a:lumMod val="75000"/>
            </a:schemeClr>
          </a:solidFill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17357B0B-AA52-77EC-8E19-F376B1E50E8D}"/>
                </a:ext>
              </a:extLst>
            </p:cNvPr>
            <p:cNvSpPr/>
            <p:nvPr/>
          </p:nvSpPr>
          <p:spPr>
            <a:xfrm>
              <a:off x="5747657" y="1639694"/>
              <a:ext cx="5355771" cy="279919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ila Cruickshank, Executive Director</a:t>
              </a: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547EAED-4655-34FC-245B-0CE3C3784F66}"/>
                </a:ext>
              </a:extLst>
            </p:cNvPr>
            <p:cNvCxnSpPr>
              <a:cxnSpLocks/>
              <a:stCxn id="137" idx="1"/>
              <a:endCxn id="139" idx="6"/>
            </p:cNvCxnSpPr>
            <p:nvPr/>
          </p:nvCxnSpPr>
          <p:spPr>
            <a:xfrm flipH="1" flipV="1">
              <a:off x="4779489" y="1779653"/>
              <a:ext cx="968168" cy="1"/>
            </a:xfrm>
            <a:prstGeom prst="line">
              <a:avLst/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B5F8B759-E04F-FD4B-2D05-E90738F1D13B}"/>
                </a:ext>
              </a:extLst>
            </p:cNvPr>
            <p:cNvSpPr/>
            <p:nvPr/>
          </p:nvSpPr>
          <p:spPr>
            <a:xfrm>
              <a:off x="4518232" y="1649441"/>
              <a:ext cx="261257" cy="260424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931C391A-1468-DAD2-F0A3-E5E03DEDFB74}"/>
              </a:ext>
            </a:extLst>
          </p:cNvPr>
          <p:cNvGrpSpPr/>
          <p:nvPr/>
        </p:nvGrpSpPr>
        <p:grpSpPr>
          <a:xfrm>
            <a:off x="4367403" y="3572223"/>
            <a:ext cx="6585196" cy="279919"/>
            <a:chOff x="4518232" y="1639694"/>
            <a:chExt cx="6585196" cy="279919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166C2E73-F8BA-209D-5673-0311042CC5BB}"/>
                </a:ext>
              </a:extLst>
            </p:cNvPr>
            <p:cNvSpPr/>
            <p:nvPr/>
          </p:nvSpPr>
          <p:spPr>
            <a:xfrm>
              <a:off x="5747657" y="1639694"/>
              <a:ext cx="5355771" cy="279919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onathan Borland, Cyclocross</a:t>
              </a:r>
            </a:p>
            <a:p>
              <a:pPr algn="ctr"/>
              <a:endPara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74CCD90B-E05C-E1D5-934D-C928A44C67EA}"/>
                </a:ext>
              </a:extLst>
            </p:cNvPr>
            <p:cNvCxnSpPr>
              <a:cxnSpLocks/>
              <a:stCxn id="141" idx="1"/>
              <a:endCxn id="143" idx="6"/>
            </p:cNvCxnSpPr>
            <p:nvPr/>
          </p:nvCxnSpPr>
          <p:spPr>
            <a:xfrm flipH="1" flipV="1">
              <a:off x="4779489" y="1779653"/>
              <a:ext cx="968168" cy="1"/>
            </a:xfrm>
            <a:prstGeom prst="line">
              <a:avLst/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234C32EF-F75E-C566-D141-32BD58B13A1F}"/>
                </a:ext>
              </a:extLst>
            </p:cNvPr>
            <p:cNvSpPr/>
            <p:nvPr/>
          </p:nvSpPr>
          <p:spPr>
            <a:xfrm>
              <a:off x="4518232" y="1649441"/>
              <a:ext cx="261257" cy="260424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26926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 STRUCTURE</a:t>
            </a:r>
          </a:p>
          <a:p>
            <a:pPr algn="ctr"/>
            <a:endParaRPr lang="en-US" sz="6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8726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5FB332E4-BFD0-0F99-142C-E6D860A66EB6}"/>
              </a:ext>
            </a:extLst>
          </p:cNvPr>
          <p:cNvCxnSpPr>
            <a:stCxn id="98" idx="3"/>
            <a:endCxn id="106" idx="1"/>
          </p:cNvCxnSpPr>
          <p:nvPr/>
        </p:nvCxnSpPr>
        <p:spPr>
          <a:xfrm>
            <a:off x="1940287" y="3012449"/>
            <a:ext cx="8311426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MCA BOARD STRUCTUR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0103279-6C64-9B2C-5031-2166980F7E94}"/>
              </a:ext>
            </a:extLst>
          </p:cNvPr>
          <p:cNvSpPr/>
          <p:nvPr/>
        </p:nvSpPr>
        <p:spPr>
          <a:xfrm>
            <a:off x="5040203" y="1229584"/>
            <a:ext cx="2107516" cy="6562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8000" tIns="96000" rIns="168000" bIns="96000" rtlCol="0" anchor="ctr" anchorCtr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sz="1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ident</a:t>
            </a: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A9C7CF86-56F7-1603-C095-24928C4B4B7F}"/>
              </a:ext>
            </a:extLst>
          </p:cNvPr>
          <p:cNvGrpSpPr/>
          <p:nvPr/>
        </p:nvGrpSpPr>
        <p:grpSpPr>
          <a:xfrm>
            <a:off x="535858" y="2684314"/>
            <a:ext cx="11120284" cy="3447402"/>
            <a:chOff x="531027" y="2684314"/>
            <a:chExt cx="11120284" cy="3447402"/>
          </a:xfrm>
        </p:grpSpPr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D210FA09-A973-0635-B257-2A24C990AA56}"/>
                </a:ext>
              </a:extLst>
            </p:cNvPr>
            <p:cNvCxnSpPr>
              <a:stCxn id="110" idx="2"/>
              <a:endCxn id="113" idx="0"/>
            </p:cNvCxnSpPr>
            <p:nvPr/>
          </p:nvCxnSpPr>
          <p:spPr>
            <a:xfrm>
              <a:off x="1448122" y="4170362"/>
              <a:ext cx="0" cy="1425807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0FC5C898-FF1E-EB23-06F0-F903D304DB78}"/>
                </a:ext>
              </a:extLst>
            </p:cNvPr>
            <p:cNvSpPr/>
            <p:nvPr/>
          </p:nvSpPr>
          <p:spPr>
            <a:xfrm>
              <a:off x="3769645" y="2684317"/>
              <a:ext cx="1404429" cy="6562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r of High Performance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2D03666-A412-778E-0483-4F61870652A4}"/>
                </a:ext>
              </a:extLst>
            </p:cNvPr>
            <p:cNvSpPr/>
            <p:nvPr/>
          </p:nvSpPr>
          <p:spPr>
            <a:xfrm>
              <a:off x="2150336" y="2684317"/>
              <a:ext cx="1404429" cy="6562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r of Youth Development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434AE2D8-159E-88BC-9B4C-34E2D8E7B1EA}"/>
                </a:ext>
              </a:extLst>
            </p:cNvPr>
            <p:cNvSpPr/>
            <p:nvPr/>
          </p:nvSpPr>
          <p:spPr>
            <a:xfrm>
              <a:off x="5388954" y="2684316"/>
              <a:ext cx="1404429" cy="6562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r of Technical Development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EB9D5AB-45CF-8005-0D3A-66DA97ED192A}"/>
                </a:ext>
              </a:extLst>
            </p:cNvPr>
            <p:cNvSpPr/>
            <p:nvPr/>
          </p:nvSpPr>
          <p:spPr>
            <a:xfrm>
              <a:off x="7008263" y="2684317"/>
              <a:ext cx="1404429" cy="6562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r of Cycling for All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891E054D-344C-BFE1-1587-A60E332A383E}"/>
                </a:ext>
              </a:extLst>
            </p:cNvPr>
            <p:cNvSpPr/>
            <p:nvPr/>
          </p:nvSpPr>
          <p:spPr>
            <a:xfrm>
              <a:off x="531027" y="2684317"/>
              <a:ext cx="1404429" cy="6562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r of Competition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D4557675-8459-DDD0-B6FA-4DF898790D03}"/>
                </a:ext>
              </a:extLst>
            </p:cNvPr>
            <p:cNvSpPr/>
            <p:nvPr/>
          </p:nvSpPr>
          <p:spPr>
            <a:xfrm>
              <a:off x="10246882" y="2684317"/>
              <a:ext cx="1404429" cy="6562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r of Marketing &amp; Communications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FC857A0E-3983-1193-0E8C-5E3C76541A47}"/>
                </a:ext>
              </a:extLst>
            </p:cNvPr>
            <p:cNvSpPr/>
            <p:nvPr/>
          </p:nvSpPr>
          <p:spPr>
            <a:xfrm>
              <a:off x="8627572" y="2684314"/>
              <a:ext cx="1404429" cy="6562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r of Finance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298296-7D28-982F-E6D5-C165CB668C98}"/>
                </a:ext>
              </a:extLst>
            </p:cNvPr>
            <p:cNvSpPr/>
            <p:nvPr/>
          </p:nvSpPr>
          <p:spPr>
            <a:xfrm>
              <a:off x="745907" y="3634815"/>
              <a:ext cx="1404429" cy="53554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ad Director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B5F979EB-4783-0AF1-9A8F-B03256F20455}"/>
                </a:ext>
              </a:extLst>
            </p:cNvPr>
            <p:cNvSpPr/>
            <p:nvPr/>
          </p:nvSpPr>
          <p:spPr>
            <a:xfrm>
              <a:off x="745907" y="4288600"/>
              <a:ext cx="1404429" cy="53554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untain Bike Director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99F2B1F-C74F-E655-CB73-129AB5497F91}"/>
                </a:ext>
              </a:extLst>
            </p:cNvPr>
            <p:cNvSpPr/>
            <p:nvPr/>
          </p:nvSpPr>
          <p:spPr>
            <a:xfrm>
              <a:off x="745907" y="4942385"/>
              <a:ext cx="1404429" cy="53554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yclocross Director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6A55A6C3-DDC1-86A0-3E07-B797ED15FFB7}"/>
                </a:ext>
              </a:extLst>
            </p:cNvPr>
            <p:cNvSpPr/>
            <p:nvPr/>
          </p:nvSpPr>
          <p:spPr>
            <a:xfrm>
              <a:off x="745907" y="5596169"/>
              <a:ext cx="1404429" cy="53554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ce Discipline Committees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AE5A7A6-A97E-8DDA-DE67-C5F5B1979BA4}"/>
                </a:ext>
              </a:extLst>
            </p:cNvPr>
            <p:cNvSpPr/>
            <p:nvPr/>
          </p:nvSpPr>
          <p:spPr>
            <a:xfrm>
              <a:off x="2365216" y="3634815"/>
              <a:ext cx="1404429" cy="53554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ds of Mud Committee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91B471F5-A638-0D9C-88E5-8D87FC7CCE19}"/>
                </a:ext>
              </a:extLst>
            </p:cNvPr>
            <p:cNvSpPr/>
            <p:nvPr/>
          </p:nvSpPr>
          <p:spPr>
            <a:xfrm>
              <a:off x="3984525" y="3634815"/>
              <a:ext cx="1404429" cy="53554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8000" tIns="96000" rIns="168000" bIns="9600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ncial Program Committee</a:t>
              </a:r>
            </a:p>
          </p:txBody>
        </p:sp>
        <p:cxnSp>
          <p:nvCxnSpPr>
            <p:cNvPr id="117" name="Elbow Connector 116">
              <a:extLst>
                <a:ext uri="{FF2B5EF4-FFF2-40B4-BE49-F238E27FC236}">
                  <a16:creationId xmlns:a16="http://schemas.microsoft.com/office/drawing/2014/main" id="{17C1638E-3D3B-A53E-5F75-E18592DF2F96}"/>
                </a:ext>
              </a:extLst>
            </p:cNvPr>
            <p:cNvCxnSpPr>
              <a:cxnSpLocks/>
              <a:stCxn id="98" idx="2"/>
              <a:endCxn id="110" idx="0"/>
            </p:cNvCxnSpPr>
            <p:nvPr/>
          </p:nvCxnSpPr>
          <p:spPr>
            <a:xfrm rot="16200000" flipH="1">
              <a:off x="1193565" y="3380257"/>
              <a:ext cx="294235" cy="21488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Elbow Connector 119">
              <a:extLst>
                <a:ext uri="{FF2B5EF4-FFF2-40B4-BE49-F238E27FC236}">
                  <a16:creationId xmlns:a16="http://schemas.microsoft.com/office/drawing/2014/main" id="{1CBFFFB8-48EF-2A52-F85A-ED2A77799FD7}"/>
                </a:ext>
              </a:extLst>
            </p:cNvPr>
            <p:cNvCxnSpPr>
              <a:cxnSpLocks/>
              <a:stCxn id="95" idx="2"/>
              <a:endCxn id="114" idx="0"/>
            </p:cNvCxnSpPr>
            <p:nvPr/>
          </p:nvCxnSpPr>
          <p:spPr>
            <a:xfrm rot="16200000" flipH="1">
              <a:off x="2812874" y="3380257"/>
              <a:ext cx="294235" cy="21488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Elbow Connector 122">
              <a:extLst>
                <a:ext uri="{FF2B5EF4-FFF2-40B4-BE49-F238E27FC236}">
                  <a16:creationId xmlns:a16="http://schemas.microsoft.com/office/drawing/2014/main" id="{9387A323-840D-2D81-499B-04B9A72DB7A0}"/>
                </a:ext>
              </a:extLst>
            </p:cNvPr>
            <p:cNvCxnSpPr>
              <a:cxnSpLocks/>
              <a:stCxn id="91" idx="2"/>
              <a:endCxn id="115" idx="0"/>
            </p:cNvCxnSpPr>
            <p:nvPr/>
          </p:nvCxnSpPr>
          <p:spPr>
            <a:xfrm rot="16200000" flipH="1">
              <a:off x="4432183" y="3380257"/>
              <a:ext cx="294235" cy="21488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90E19E5-27CB-FB8A-661A-9F21C25D9F7C}"/>
              </a:ext>
            </a:extLst>
          </p:cNvPr>
          <p:cNvCxnSpPr>
            <a:cxnSpLocks/>
            <a:stCxn id="88" idx="2"/>
            <a:endCxn id="96" idx="0"/>
          </p:cNvCxnSpPr>
          <p:nvPr/>
        </p:nvCxnSpPr>
        <p:spPr>
          <a:xfrm>
            <a:off x="6093961" y="1885848"/>
            <a:ext cx="2039" cy="79846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23C6F4C-1CF7-ED00-F2FA-D3BC016C0560}"/>
              </a:ext>
            </a:extLst>
          </p:cNvPr>
          <p:cNvSpPr/>
          <p:nvPr/>
        </p:nvSpPr>
        <p:spPr>
          <a:xfrm>
            <a:off x="7501301" y="1909922"/>
            <a:ext cx="1404429" cy="656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8000" tIns="96000" rIns="168000" bIns="96000" rtlCol="0" anchor="ctr" anchorCtr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ary</a:t>
            </a:r>
          </a:p>
        </p:txBody>
      </p:sp>
      <p:cxnSp>
        <p:nvCxnSpPr>
          <p:cNvPr id="136" name="Elbow Connector 135">
            <a:extLst>
              <a:ext uri="{FF2B5EF4-FFF2-40B4-BE49-F238E27FC236}">
                <a16:creationId xmlns:a16="http://schemas.microsoft.com/office/drawing/2014/main" id="{0C2F5465-5086-912A-AC17-F5990110F65C}"/>
              </a:ext>
            </a:extLst>
          </p:cNvPr>
          <p:cNvCxnSpPr>
            <a:cxnSpLocks/>
            <a:stCxn id="88" idx="2"/>
            <a:endCxn id="134" idx="1"/>
          </p:cNvCxnSpPr>
          <p:nvPr/>
        </p:nvCxnSpPr>
        <p:spPr>
          <a:xfrm rot="16200000" flipH="1">
            <a:off x="6621528" y="1358281"/>
            <a:ext cx="352206" cy="1407340"/>
          </a:xfrm>
          <a:prstGeom prst="bentConnector2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21394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Board of Director Elections</a:t>
            </a:r>
            <a:endParaRPr lang="en-US" sz="4400" dirty="0"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4CA2F9F-4C1C-BB12-6084-5AEBE2C8B0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348447"/>
              </p:ext>
            </p:extLst>
          </p:nvPr>
        </p:nvGraphicFramePr>
        <p:xfrm>
          <a:off x="1783080" y="1573149"/>
          <a:ext cx="9826239" cy="134896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60320">
                  <a:extLst>
                    <a:ext uri="{9D8B030D-6E8A-4147-A177-3AD203B41FA5}">
                      <a16:colId xmlns:a16="http://schemas.microsoft.com/office/drawing/2014/main" val="81779874"/>
                    </a:ext>
                  </a:extLst>
                </a:gridCol>
                <a:gridCol w="1691640">
                  <a:extLst>
                    <a:ext uri="{9D8B030D-6E8A-4147-A177-3AD203B41FA5}">
                      <a16:colId xmlns:a16="http://schemas.microsoft.com/office/drawing/2014/main" val="679372593"/>
                    </a:ext>
                  </a:extLst>
                </a:gridCol>
                <a:gridCol w="1636319">
                  <a:extLst>
                    <a:ext uri="{9D8B030D-6E8A-4147-A177-3AD203B41FA5}">
                      <a16:colId xmlns:a16="http://schemas.microsoft.com/office/drawing/2014/main" val="698403432"/>
                    </a:ext>
                  </a:extLst>
                </a:gridCol>
                <a:gridCol w="1968980">
                  <a:extLst>
                    <a:ext uri="{9D8B030D-6E8A-4147-A177-3AD203B41FA5}">
                      <a16:colId xmlns:a16="http://schemas.microsoft.com/office/drawing/2014/main" val="2684999517"/>
                    </a:ext>
                  </a:extLst>
                </a:gridCol>
                <a:gridCol w="1968980">
                  <a:extLst>
                    <a:ext uri="{9D8B030D-6E8A-4147-A177-3AD203B41FA5}">
                      <a16:colId xmlns:a16="http://schemas.microsoft.com/office/drawing/2014/main" val="4200795694"/>
                    </a:ext>
                  </a:extLst>
                </a:gridCol>
              </a:tblGrid>
              <a:tr h="28873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Posi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Re-Ele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Ter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Interest from Floo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Interest from Floo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155055"/>
                  </a:ext>
                </a:extLst>
              </a:tr>
              <a:tr h="31426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of Finan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niel Wesley</a:t>
                      </a:r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Years</a:t>
                      </a:r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81385"/>
                  </a:ext>
                </a:extLst>
              </a:tr>
              <a:tr h="2433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retar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rin McSherr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Yea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6345246"/>
                  </a:ext>
                </a:extLst>
              </a:tr>
              <a:tr h="2433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of Competi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vin Hartl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Yea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1596314"/>
                  </a:ext>
                </a:extLst>
              </a:tr>
              <a:tr h="2433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of High Performan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 Ro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Yea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5860266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83C2C5F-EA93-1011-0603-3E35A6528D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2965438"/>
              </p:ext>
            </p:extLst>
          </p:nvPr>
        </p:nvGraphicFramePr>
        <p:xfrm>
          <a:off x="1792224" y="3612808"/>
          <a:ext cx="9862810" cy="175205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33591">
                  <a:extLst>
                    <a:ext uri="{9D8B030D-6E8A-4147-A177-3AD203B41FA5}">
                      <a16:colId xmlns:a16="http://schemas.microsoft.com/office/drawing/2014/main" val="81779874"/>
                    </a:ext>
                  </a:extLst>
                </a:gridCol>
                <a:gridCol w="1526345">
                  <a:extLst>
                    <a:ext uri="{9D8B030D-6E8A-4147-A177-3AD203B41FA5}">
                      <a16:colId xmlns:a16="http://schemas.microsoft.com/office/drawing/2014/main" val="679372593"/>
                    </a:ext>
                  </a:extLst>
                </a:gridCol>
                <a:gridCol w="1883664">
                  <a:extLst>
                    <a:ext uri="{9D8B030D-6E8A-4147-A177-3AD203B41FA5}">
                      <a16:colId xmlns:a16="http://schemas.microsoft.com/office/drawing/2014/main" val="698403432"/>
                    </a:ext>
                  </a:extLst>
                </a:gridCol>
                <a:gridCol w="1946648">
                  <a:extLst>
                    <a:ext uri="{9D8B030D-6E8A-4147-A177-3AD203B41FA5}">
                      <a16:colId xmlns:a16="http://schemas.microsoft.com/office/drawing/2014/main" val="2684999517"/>
                    </a:ext>
                  </a:extLst>
                </a:gridCol>
                <a:gridCol w="1972562">
                  <a:extLst>
                    <a:ext uri="{9D8B030D-6E8A-4147-A177-3AD203B41FA5}">
                      <a16:colId xmlns:a16="http://schemas.microsoft.com/office/drawing/2014/main" val="4200795694"/>
                    </a:ext>
                  </a:extLst>
                </a:gridCol>
              </a:tblGrid>
              <a:tr h="290977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Posi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Retir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Ter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Candidat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Interest from Floo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155055"/>
                  </a:ext>
                </a:extLst>
              </a:tr>
              <a:tr h="4658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of Technical Developm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CA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ea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Tim Klassen</a:t>
                      </a:r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81385"/>
                  </a:ext>
                </a:extLst>
              </a:tr>
              <a:tr h="272585"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ing &amp; Communication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lan Gilmou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CA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Ye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4468359"/>
                  </a:ext>
                </a:extLst>
              </a:tr>
              <a:tr h="272585"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ad Directo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nie Kosty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Yea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Nick Borisov</a:t>
                      </a:r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6345246"/>
                  </a:ext>
                </a:extLst>
              </a:tr>
              <a:tr h="272585"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at Large (Rural engagement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is Saquet (KOM)</a:t>
                      </a:r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Ye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C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Marty Gaude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CA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16686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809501D-A40F-C4C9-8B8E-051A2E1ECFB9}"/>
              </a:ext>
            </a:extLst>
          </p:cNvPr>
          <p:cNvSpPr/>
          <p:nvPr/>
        </p:nvSpPr>
        <p:spPr>
          <a:xfrm>
            <a:off x="532888" y="1564003"/>
            <a:ext cx="1138334" cy="135811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-El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8A4805-AED3-C016-909C-C2D3A89B4EEC}"/>
              </a:ext>
            </a:extLst>
          </p:cNvPr>
          <p:cNvSpPr/>
          <p:nvPr/>
        </p:nvSpPr>
        <p:spPr>
          <a:xfrm>
            <a:off x="542032" y="3602736"/>
            <a:ext cx="1138334" cy="17537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</a:p>
        </p:txBody>
      </p:sp>
    </p:spTree>
    <p:extLst>
      <p:ext uri="{BB962C8B-B14F-4D97-AF65-F5344CB8AC3E}">
        <p14:creationId xmlns:p14="http://schemas.microsoft.com/office/powerpoint/2010/main" val="200967966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FAEC7EB-16BE-F923-7555-3C98EB48C3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b="1" dirty="0"/>
              <a:t>RULES OF ENGAGEMENT</a:t>
            </a:r>
          </a:p>
          <a:p>
            <a:r>
              <a:rPr lang="en-CA" dirty="0"/>
              <a:t>Must be a 2025 </a:t>
            </a:r>
            <a:r>
              <a:rPr lang="en-CA" u="sng" dirty="0"/>
              <a:t>Individual</a:t>
            </a:r>
            <a:r>
              <a:rPr lang="en-CA" dirty="0"/>
              <a:t> MCA member to vote (General member or Race license holder).  </a:t>
            </a:r>
          </a:p>
          <a:p>
            <a:r>
              <a:rPr lang="en-CA" dirty="0"/>
              <a:t>Must be age 18 or older (at time of meeting) to vote.  </a:t>
            </a:r>
          </a:p>
          <a:p>
            <a:r>
              <a:rPr lang="en-CA" dirty="0"/>
              <a:t>Participants under the age of 18 may have their vote exercised by a member parent/guardian.  If multiple children (of one parent) present, the parent may exercise one vote.  Two parents of the same child (under the age of 18) who is a member, can exercise one vote.</a:t>
            </a:r>
          </a:p>
          <a:p>
            <a:r>
              <a:rPr lang="en-CA" dirty="0"/>
              <a:t>Proxy votes: A non-member can attend and vote on behalf of a member. The proxy must be signed by member and must be submitted to the MCA at least </a:t>
            </a:r>
            <a:r>
              <a:rPr lang="en-CA" u="sng" dirty="0"/>
              <a:t>48 hours prior to the AGM</a:t>
            </a:r>
            <a:r>
              <a:rPr lang="en-CA" dirty="0"/>
              <a:t>.</a:t>
            </a:r>
          </a:p>
          <a:p>
            <a:r>
              <a:rPr lang="en-CA" dirty="0"/>
              <a:t>Board of Directors must be 18+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46C84A-B89C-A265-9692-1EB699445E9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b="1" dirty="0"/>
              <a:t>VOTE COLLECTION (If more than one person is running):</a:t>
            </a:r>
          </a:p>
          <a:p>
            <a:pPr marL="0" indent="0">
              <a:buNone/>
            </a:pPr>
            <a:r>
              <a:rPr lang="en-CA" b="1" dirty="0"/>
              <a:t>In-person:  </a:t>
            </a:r>
          </a:p>
          <a:p>
            <a:pPr lvl="1"/>
            <a:r>
              <a:rPr lang="en-CA" dirty="0"/>
              <a:t>Use QR code or link on next slide to vote.</a:t>
            </a:r>
          </a:p>
          <a:p>
            <a:pPr lvl="1"/>
            <a:r>
              <a:rPr lang="en-CA" dirty="0"/>
              <a:t>Paper will be distributed (if required) and votes will be collected and counted.</a:t>
            </a:r>
          </a:p>
          <a:p>
            <a:pPr marL="0" indent="0">
              <a:buNone/>
            </a:pPr>
            <a:r>
              <a:rPr lang="en-CA" b="1" dirty="0"/>
              <a:t>Virtual:</a:t>
            </a:r>
          </a:p>
          <a:p>
            <a:pPr lvl="1"/>
            <a:r>
              <a:rPr lang="en-CA" dirty="0"/>
              <a:t>Use QR code or link on next slide to vote.</a:t>
            </a:r>
          </a:p>
          <a:p>
            <a:pPr marL="0" indent="0">
              <a:buNone/>
            </a:pPr>
            <a:endParaRPr lang="en-CA" dirty="0"/>
          </a:p>
          <a:p>
            <a:pPr marL="0" indent="0">
              <a:buNone/>
            </a:pPr>
            <a:endParaRPr lang="en-CA" dirty="0"/>
          </a:p>
          <a:p>
            <a:pPr marL="0" indent="0">
              <a:buNone/>
            </a:pPr>
            <a:r>
              <a:rPr lang="en-CA" dirty="0"/>
              <a:t>All votes (paper and electronic) will be collected and counted to  determine final results.</a:t>
            </a:r>
          </a:p>
          <a:p>
            <a:pPr marL="0" indent="0">
              <a:buNone/>
            </a:pPr>
            <a:endParaRPr lang="en-CA" dirty="0"/>
          </a:p>
          <a:p>
            <a:pPr marL="0" indent="0">
              <a:buNone/>
            </a:pPr>
            <a:r>
              <a:rPr lang="en-CA" dirty="0"/>
              <a:t>In the event of a tie, there will be a re-vote</a:t>
            </a:r>
          </a:p>
          <a:p>
            <a:pPr marL="182884" lvl="1" indent="0">
              <a:buNone/>
            </a:pPr>
            <a:endParaRPr lang="en-CA" dirty="0"/>
          </a:p>
          <a:p>
            <a:pPr lvl="1"/>
            <a:endParaRPr lang="en-CA" dirty="0"/>
          </a:p>
          <a:p>
            <a:pPr lvl="1"/>
            <a:endParaRPr lang="en-CA" b="1" dirty="0"/>
          </a:p>
          <a:p>
            <a:pPr lvl="1"/>
            <a:endParaRPr lang="en-CA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CABAA7-97D6-75DB-A564-AD8DFEB997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14E39E-D5F6-0553-D5F5-E416AFBEF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713138"/>
            <a:ext cx="11122146" cy="398314"/>
          </a:xfrm>
        </p:spPr>
        <p:txBody>
          <a:bodyPr/>
          <a:lstStyle/>
          <a:p>
            <a:r>
              <a:rPr lang="en-CA" dirty="0"/>
              <a:t>ELECTION PROCESS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06660E-4DE6-85EF-DEA8-F700653910F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60320" y="1171823"/>
            <a:ext cx="11122146" cy="492443"/>
          </a:xfrm>
        </p:spPr>
        <p:txBody>
          <a:bodyPr/>
          <a:lstStyle/>
          <a:p>
            <a:pPr marL="0" indent="0">
              <a:buNone/>
            </a:pPr>
            <a:r>
              <a:rPr lang="en-CA" b="0" dirty="0">
                <a:solidFill>
                  <a:srgbClr val="0070C0"/>
                </a:solidFill>
              </a:rPr>
              <a:t>- Election Poll (Virtual participants)</a:t>
            </a:r>
            <a:br>
              <a:rPr lang="en-CA" b="0" dirty="0">
                <a:solidFill>
                  <a:srgbClr val="0070C0"/>
                </a:solidFill>
              </a:rPr>
            </a:br>
            <a:r>
              <a:rPr lang="en-CA" b="0" dirty="0">
                <a:solidFill>
                  <a:srgbClr val="0070C0"/>
                </a:solidFill>
              </a:rPr>
              <a:t>- Paper Poll (In-person participants) </a:t>
            </a:r>
          </a:p>
        </p:txBody>
      </p:sp>
    </p:spTree>
    <p:extLst>
      <p:ext uri="{BB962C8B-B14F-4D97-AF65-F5344CB8AC3E}">
        <p14:creationId xmlns:p14="http://schemas.microsoft.com/office/powerpoint/2010/main" val="14663653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1F467CE-95DF-1C7E-6D71-B8A4759DB09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83DCF7-8076-FB20-6DDC-E370A8EC7F9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D3A79F-4C89-03EF-0BD1-8B50CC1B847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A93A6F4-2FE2-10F2-24A9-FE9FBB972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6379F8-105F-A377-DC6A-5F5EBD8C0B6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CA" dirty="0"/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7" name="Add-in 6" title="Forms">
                <a:extLst>
                  <a:ext uri="{FF2B5EF4-FFF2-40B4-BE49-F238E27FC236}">
                    <a16:creationId xmlns:a16="http://schemas.microsoft.com/office/drawing/2014/main" id="{3BA91B0C-5829-65D7-1127-997B1527A8D5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0" y="0"/>
              <a:ext cx="12192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7" name="Add-in 6" title="Forms">
                <a:extLst>
                  <a:ext uri="{FF2B5EF4-FFF2-40B4-BE49-F238E27FC236}">
                    <a16:creationId xmlns:a16="http://schemas.microsoft.com/office/drawing/2014/main" id="{3BA91B0C-5829-65D7-1127-997B1527A8D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5609858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888287-122F-ECCD-3985-6AC4EFD3615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A92618-4271-B463-2ABD-96082A7840C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7B29D0-ACB3-11EC-3290-120D033D98D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D0B84D-FAD6-9E1D-C1C0-E95E142F6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126AE2F-9119-0670-A666-F56390C211A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CA" dirty="0"/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7" name="Add-in 6" title="Forms">
                <a:extLst>
                  <a:ext uri="{FF2B5EF4-FFF2-40B4-BE49-F238E27FC236}">
                    <a16:creationId xmlns:a16="http://schemas.microsoft.com/office/drawing/2014/main" id="{78A2CE82-7803-C017-589D-E416080A9FEE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0" y="0"/>
              <a:ext cx="12192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7" name="Add-in 6" title="Forms">
                <a:extLst>
                  <a:ext uri="{FF2B5EF4-FFF2-40B4-BE49-F238E27FC236}">
                    <a16:creationId xmlns:a16="http://schemas.microsoft.com/office/drawing/2014/main" id="{78A2CE82-7803-C017-589D-E416080A9FE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8" name="Add-in 7" title="Forms">
                <a:extLst>
                  <a:ext uri="{FF2B5EF4-FFF2-40B4-BE49-F238E27FC236}">
                    <a16:creationId xmlns:a16="http://schemas.microsoft.com/office/drawing/2014/main" id="{17401B9C-EC99-A18D-65B9-4C3F684643E0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0" y="0"/>
              <a:ext cx="12192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Add-in 7" title="Forms">
                <a:extLst>
                  <a:ext uri="{FF2B5EF4-FFF2-40B4-BE49-F238E27FC236}">
                    <a16:creationId xmlns:a16="http://schemas.microsoft.com/office/drawing/2014/main" id="{17401B9C-EC99-A18D-65B9-4C3F684643E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9" name="Add-in 8" title="Forms">
                <a:extLst>
                  <a:ext uri="{FF2B5EF4-FFF2-40B4-BE49-F238E27FC236}">
                    <a16:creationId xmlns:a16="http://schemas.microsoft.com/office/drawing/2014/main" id="{5A61D200-AADD-7ED1-5C25-BA4AC0E2AAD1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0" y="0"/>
              <a:ext cx="12192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9" name="Add-in 8" title="Forms">
                <a:extLst>
                  <a:ext uri="{FF2B5EF4-FFF2-40B4-BE49-F238E27FC236}">
                    <a16:creationId xmlns:a16="http://schemas.microsoft.com/office/drawing/2014/main" id="{5A61D200-AADD-7ED1-5C25-BA4AC0E2AAD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57115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8D940-A374-5BAD-7118-9BD192732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D920064-DB14-69FB-5816-5DDFAC5B2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>
                <a:latin typeface="Arial"/>
                <a:cs typeface="Arial"/>
              </a:rPr>
              <a:t>Land Acknowledgement</a:t>
            </a:r>
            <a:endParaRPr lang="en-US" sz="4400" dirty="0"/>
          </a:p>
        </p:txBody>
      </p:sp>
      <p:pic>
        <p:nvPicPr>
          <p:cNvPr id="9" name="Content Placeholder 8" descr="A grassy field with rocks and trees&#10;&#10;AI-generated content may be incorrect.">
            <a:extLst>
              <a:ext uri="{FF2B5EF4-FFF2-40B4-BE49-F238E27FC236}">
                <a16:creationId xmlns:a16="http://schemas.microsoft.com/office/drawing/2014/main" id="{3EB543B4-E6C8-D1D9-5C84-FD1E0991CBD6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842" y="1409700"/>
            <a:ext cx="6059996" cy="4545013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DBD3352-5E67-C099-CC7F-3204BAC10376}"/>
              </a:ext>
            </a:extLst>
          </p:cNvPr>
          <p:cNvSpPr txBox="1"/>
          <p:nvPr/>
        </p:nvSpPr>
        <p:spPr>
          <a:xfrm>
            <a:off x="329163" y="1981200"/>
            <a:ext cx="5033412" cy="369331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i="1" dirty="0"/>
              <a:t>Manitoba Cycling </a:t>
            </a:r>
          </a:p>
          <a:p>
            <a:pPr algn="ctr"/>
            <a:r>
              <a:rPr lang="en-US" i="1" dirty="0"/>
              <a:t>acknowledges that the work of the amateur sport community takes place on the traditional lands and waterways of the Anishinaabeg, Oji-Cree, Dakota, and Dene Peoples, as well as the homeland of the Métis Nation. The organization respects the treaties and is grateful to work, live, and play on these lands.</a:t>
            </a:r>
            <a:endParaRPr lang="en-US" i="1" dirty="0">
              <a:ea typeface="Calibri"/>
              <a:cs typeface="Calibri"/>
            </a:endParaRPr>
          </a:p>
          <a:p>
            <a:pPr algn="ctr"/>
            <a:endParaRPr lang="en-US" i="1" dirty="0">
              <a:ea typeface="Calibri"/>
              <a:cs typeface="Calibri"/>
            </a:endParaRPr>
          </a:p>
          <a:p>
            <a:pPr algn="ctr"/>
            <a:r>
              <a:rPr lang="en-CA" i="1" dirty="0"/>
              <a:t>We are making this acknowledgement to demonstrate our commitment to work together as a community in laying the foundation for </a:t>
            </a:r>
          </a:p>
          <a:p>
            <a:pPr algn="ctr"/>
            <a:r>
              <a:rPr lang="en-CA" i="1" dirty="0"/>
              <a:t>reconciliation through sport.</a:t>
            </a:r>
            <a:endParaRPr lang="en-US" sz="20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8044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BUSINESS &amp; CLOSING REMARKS</a:t>
            </a:r>
          </a:p>
          <a:p>
            <a:pPr algn="ctr"/>
            <a:endParaRPr lang="en-US" sz="6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480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rgbClr val="FBC40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293FA1C-69C3-A122-BDA7-B4A64B6C3D24}"/>
              </a:ext>
            </a:extLst>
          </p:cNvPr>
          <p:cNvGrpSpPr/>
          <p:nvPr/>
        </p:nvGrpSpPr>
        <p:grpSpPr>
          <a:xfrm>
            <a:off x="4478063" y="591671"/>
            <a:ext cx="3235873" cy="5225965"/>
            <a:chOff x="1773111" y="591671"/>
            <a:chExt cx="3235873" cy="522596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B55FAAE-2A8E-D844-C072-1F9C8A161B4E}"/>
                </a:ext>
              </a:extLst>
            </p:cNvPr>
            <p:cNvSpPr/>
            <p:nvPr/>
          </p:nvSpPr>
          <p:spPr>
            <a:xfrm>
              <a:off x="1773111" y="1399591"/>
              <a:ext cx="3235873" cy="4418045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tion #6</a:t>
              </a:r>
            </a:p>
            <a:p>
              <a:pPr algn="ctr"/>
              <a:endPara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journ Meeting</a:t>
              </a: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F938492-152E-C76C-3BFC-1C10DCCF0417}"/>
                </a:ext>
              </a:extLst>
            </p:cNvPr>
            <p:cNvSpPr/>
            <p:nvPr/>
          </p:nvSpPr>
          <p:spPr>
            <a:xfrm>
              <a:off x="2523299" y="591671"/>
              <a:ext cx="1735493" cy="1735493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0EF1E18-CD24-50AB-C303-0B2DC2EA035E}"/>
                </a:ext>
              </a:extLst>
            </p:cNvPr>
            <p:cNvSpPr/>
            <p:nvPr/>
          </p:nvSpPr>
          <p:spPr>
            <a:xfrm>
              <a:off x="2753553" y="821925"/>
              <a:ext cx="1274985" cy="1274985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pic>
          <p:nvPicPr>
            <p:cNvPr id="7" name="Graphic 6" descr="Checkmark with solid fill">
              <a:extLst>
                <a:ext uri="{FF2B5EF4-FFF2-40B4-BE49-F238E27FC236}">
                  <a16:creationId xmlns:a16="http://schemas.microsoft.com/office/drawing/2014/main" id="{2C3E9866-1466-1760-6A59-8502D8926E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933844" y="4569667"/>
              <a:ext cx="914400" cy="914400"/>
            </a:xfrm>
            <a:prstGeom prst="rect">
              <a:avLst/>
            </a:prstGeom>
          </p:spPr>
        </p:pic>
      </p:grpSp>
      <p:pic>
        <p:nvPicPr>
          <p:cNvPr id="10" name="Graphic 9" descr="Hourglass Finished with solid fill">
            <a:extLst>
              <a:ext uri="{FF2B5EF4-FFF2-40B4-BE49-F238E27FC236}">
                <a16:creationId xmlns:a16="http://schemas.microsoft.com/office/drawing/2014/main" id="{51F9752D-3DA7-A170-EBD2-85AB54A6D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31686" y="1095107"/>
            <a:ext cx="728619" cy="72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7123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673A45-8841-6789-A4D3-9A0CBA6C9AB8}"/>
              </a:ext>
            </a:extLst>
          </p:cNvPr>
          <p:cNvSpPr/>
          <p:nvPr/>
        </p:nvSpPr>
        <p:spPr>
          <a:xfrm>
            <a:off x="1" y="1342147"/>
            <a:ext cx="11624012" cy="39159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64180C9-1B0D-2891-492D-5D9FA90C1C9D}"/>
              </a:ext>
            </a:extLst>
          </p:cNvPr>
          <p:cNvSpPr txBox="1">
            <a:spLocks/>
          </p:cNvSpPr>
          <p:nvPr/>
        </p:nvSpPr>
        <p:spPr>
          <a:xfrm>
            <a:off x="567988" y="2716324"/>
            <a:ext cx="7135963" cy="957061"/>
          </a:xfrm>
          <a:prstGeom prst="rect">
            <a:avLst/>
          </a:prstGeom>
        </p:spPr>
        <p:txBody>
          <a:bodyPr/>
          <a:lstStyle>
            <a:lvl1pPr algn="l" defTabSz="91442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en-US" sz="21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CA" sz="4400" b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ank you!</a:t>
            </a:r>
            <a:endParaRPr lang="en-CA" sz="6000" b="0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954CB78-FDE9-D7A5-DDD0-5476CAAA4F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988" y="5608659"/>
            <a:ext cx="2205317" cy="78105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2A10012-CC46-1988-015D-D78C31C53FB8}"/>
              </a:ext>
            </a:extLst>
          </p:cNvPr>
          <p:cNvSpPr txBox="1">
            <a:spLocks/>
          </p:cNvSpPr>
          <p:nvPr/>
        </p:nvSpPr>
        <p:spPr>
          <a:xfrm>
            <a:off x="532888" y="327455"/>
            <a:ext cx="11122146" cy="783997"/>
          </a:xfrm>
          <a:prstGeom prst="rect">
            <a:avLst/>
          </a:prstGeom>
        </p:spPr>
        <p:txBody>
          <a:bodyPr/>
          <a:lstStyle>
            <a:lvl1pPr algn="l" defTabSz="91442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en-US" sz="21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CA" sz="4400" dirty="0"/>
              <a:t>MANITOBA CYCLING ASSOCIATION</a:t>
            </a:r>
          </a:p>
        </p:txBody>
      </p:sp>
      <p:pic>
        <p:nvPicPr>
          <p:cNvPr id="4" name="Picture 3" descr="A group of people holding flags&#10;&#10;AI-generated content may be incorrect.">
            <a:extLst>
              <a:ext uri="{FF2B5EF4-FFF2-40B4-BE49-F238E27FC236}">
                <a16:creationId xmlns:a16="http://schemas.microsoft.com/office/drawing/2014/main" id="{870FE9B8-3F4C-988F-7C24-4D247071B8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4036" y="1743694"/>
            <a:ext cx="6975835" cy="4646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842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D6DF6-7E7E-5981-247A-E428C7423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r>
              <a:rPr lang="en-US" sz="4400" dirty="0"/>
              <a:t>CONTENT</a:t>
            </a:r>
            <a:endParaRPr lang="en-US" sz="4400" dirty="0">
              <a:highlight>
                <a:srgbClr val="FFFF00"/>
              </a:highlight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64A33918-BAD8-1263-CD98-BF7DF2F8C4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4446029"/>
              </p:ext>
            </p:extLst>
          </p:nvPr>
        </p:nvGraphicFramePr>
        <p:xfrm>
          <a:off x="532888" y="1111452"/>
          <a:ext cx="6620943" cy="48852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943">
                  <a:extLst>
                    <a:ext uri="{9D8B030D-6E8A-4147-A177-3AD203B41FA5}">
                      <a16:colId xmlns:a16="http://schemas.microsoft.com/office/drawing/2014/main" val="2930355220"/>
                    </a:ext>
                  </a:extLst>
                </a:gridCol>
                <a:gridCol w="6192000">
                  <a:extLst>
                    <a:ext uri="{9D8B030D-6E8A-4147-A177-3AD203B41FA5}">
                      <a16:colId xmlns:a16="http://schemas.microsoft.com/office/drawing/2014/main" val="266221119"/>
                    </a:ext>
                  </a:extLst>
                </a:gridCol>
              </a:tblGrid>
              <a:tr h="55322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l to Order &amp; Opening Remar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8065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 Agenda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otion #1)</a:t>
                      </a:r>
                    </a:p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 2024 Meeting Minutes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Motion #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7345286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2025 Financial Statement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e Roadm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175820"/>
                  </a:ext>
                </a:extLst>
              </a:tr>
              <a:tr h="556394"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 Audited Financial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otion #3)</a:t>
                      </a:r>
                    </a:p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 Auditor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otion #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7143985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CA Staff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Strategic Prioritie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s, Clubs, Committe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73436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ARD OF DIRECTOR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ions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otion #5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5708512"/>
                  </a:ext>
                </a:extLst>
              </a:tr>
              <a:tr h="443372"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000" b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REPORT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ard, Staff, Sub-Committees</a:t>
                      </a:r>
                      <a:endParaRPr lang="en-CA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128233"/>
                  </a:ext>
                </a:extLst>
              </a:tr>
              <a:tr h="443790"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 BUSINESS</a:t>
                      </a:r>
                    </a:p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ING REMAR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247081"/>
                  </a:ext>
                </a:extLst>
              </a:tr>
              <a:tr h="406744">
                <a:tc>
                  <a:txBody>
                    <a:bodyPr/>
                    <a:lstStyle/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journ Meeting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otion #6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3931846"/>
                  </a:ext>
                </a:extLst>
              </a:tr>
            </a:tbl>
          </a:graphicData>
        </a:graphic>
      </p:graphicFrame>
      <p:pic>
        <p:nvPicPr>
          <p:cNvPr id="12" name="Picture 11" descr="A group of people riding bikes&#10;&#10;AI-generated content may be incorrect.">
            <a:extLst>
              <a:ext uri="{FF2B5EF4-FFF2-40B4-BE49-F238E27FC236}">
                <a16:creationId xmlns:a16="http://schemas.microsoft.com/office/drawing/2014/main" id="{DF12F918-A66D-CA5E-AAD1-2F81E3D998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493" y="1927905"/>
            <a:ext cx="4547556" cy="3347426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85C4FA8-B891-09AF-3E40-A19386985E9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24366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8290BF-6A00-F5F1-11C7-85C782602337}"/>
              </a:ext>
            </a:extLst>
          </p:cNvPr>
          <p:cNvSpPr/>
          <p:nvPr/>
        </p:nvSpPr>
        <p:spPr>
          <a:xfrm>
            <a:off x="1773111" y="1399591"/>
            <a:ext cx="3235873" cy="441804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on #1</a:t>
            </a:r>
          </a:p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 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ED76804-BB58-A437-0F6A-33D79F1A32E8}"/>
              </a:ext>
            </a:extLst>
          </p:cNvPr>
          <p:cNvSpPr/>
          <p:nvPr/>
        </p:nvSpPr>
        <p:spPr>
          <a:xfrm>
            <a:off x="7183016" y="1399591"/>
            <a:ext cx="3235874" cy="441804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on #2</a:t>
            </a:r>
          </a:p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 2024 Meeting Minute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B6DD14A-DA48-D2AF-77AF-0E5D273B1DEA}"/>
              </a:ext>
            </a:extLst>
          </p:cNvPr>
          <p:cNvSpPr/>
          <p:nvPr/>
        </p:nvSpPr>
        <p:spPr>
          <a:xfrm>
            <a:off x="2523299" y="591671"/>
            <a:ext cx="1735493" cy="1735493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36F2AC8-5902-CAFE-2201-48F272E2102F}"/>
              </a:ext>
            </a:extLst>
          </p:cNvPr>
          <p:cNvSpPr/>
          <p:nvPr/>
        </p:nvSpPr>
        <p:spPr>
          <a:xfrm>
            <a:off x="7933210" y="591670"/>
            <a:ext cx="1735493" cy="1735493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DBF7C59-10CF-B6B0-1907-6F7D9F8134C2}"/>
              </a:ext>
            </a:extLst>
          </p:cNvPr>
          <p:cNvSpPr/>
          <p:nvPr/>
        </p:nvSpPr>
        <p:spPr>
          <a:xfrm>
            <a:off x="2753553" y="821925"/>
            <a:ext cx="1274985" cy="1274985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0807A02-C009-073B-8FC0-2E212FDBD991}"/>
              </a:ext>
            </a:extLst>
          </p:cNvPr>
          <p:cNvSpPr/>
          <p:nvPr/>
        </p:nvSpPr>
        <p:spPr>
          <a:xfrm>
            <a:off x="8163462" y="821925"/>
            <a:ext cx="1274985" cy="1274985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7" name="Graphic 16" descr="Checkmark with solid fill">
            <a:extLst>
              <a:ext uri="{FF2B5EF4-FFF2-40B4-BE49-F238E27FC236}">
                <a16:creationId xmlns:a16="http://schemas.microsoft.com/office/drawing/2014/main" id="{A4C77246-143D-B1D4-98C6-A12BE7BA4C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3844" y="4569667"/>
            <a:ext cx="914400" cy="914400"/>
          </a:xfrm>
          <a:prstGeom prst="rect">
            <a:avLst/>
          </a:prstGeom>
        </p:spPr>
      </p:pic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3779448C-D4E9-2D1A-65DB-333CD100E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3756" y="4569667"/>
            <a:ext cx="914400" cy="914400"/>
          </a:xfrm>
          <a:prstGeom prst="rect">
            <a:avLst/>
          </a:prstGeom>
        </p:spPr>
      </p:pic>
      <p:pic>
        <p:nvPicPr>
          <p:cNvPr id="10" name="Graphic 9" descr="Clock with solid fill">
            <a:extLst>
              <a:ext uri="{FF2B5EF4-FFF2-40B4-BE49-F238E27FC236}">
                <a16:creationId xmlns:a16="http://schemas.microsoft.com/office/drawing/2014/main" id="{904D2C75-6F18-3759-1184-25BFA4D809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32653" y="1091116"/>
            <a:ext cx="736600" cy="736600"/>
          </a:xfrm>
          <a:prstGeom prst="rect">
            <a:avLst/>
          </a:prstGeom>
        </p:spPr>
      </p:pic>
      <p:pic>
        <p:nvPicPr>
          <p:cNvPr id="12" name="Graphic 11" descr="List with solid fill">
            <a:extLst>
              <a:ext uri="{FF2B5EF4-FFF2-40B4-BE49-F238E27FC236}">
                <a16:creationId xmlns:a16="http://schemas.microsoft.com/office/drawing/2014/main" id="{C124B93C-CE01-388B-4458-48769D83AE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22744" y="1091116"/>
            <a:ext cx="736600" cy="73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581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37653D-B1F6-9B10-E44C-BF7C889CC208}"/>
              </a:ext>
            </a:extLst>
          </p:cNvPr>
          <p:cNvSpPr/>
          <p:nvPr/>
        </p:nvSpPr>
        <p:spPr>
          <a:xfrm>
            <a:off x="0" y="0"/>
            <a:ext cx="12192000" cy="626632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</a:p>
        </p:txBody>
      </p:sp>
    </p:spTree>
    <p:extLst>
      <p:ext uri="{BB962C8B-B14F-4D97-AF65-F5344CB8AC3E}">
        <p14:creationId xmlns:p14="http://schemas.microsoft.com/office/powerpoint/2010/main" val="38150328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pPr algn="ctr"/>
            <a:r>
              <a:rPr lang="en-US" sz="4400" dirty="0">
                <a:latin typeface="Arial"/>
                <a:cs typeface="Arial"/>
              </a:rPr>
              <a:t>STATEMENT OF OPERATIONS</a:t>
            </a:r>
            <a:endParaRPr lang="en-US" sz="4400" dirty="0"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4" name="Content Placeholder 3" descr="A group of people running on a field with bicycles&#10;&#10;AI-generated content may be incorrect.">
            <a:extLst>
              <a:ext uri="{FF2B5EF4-FFF2-40B4-BE49-F238E27FC236}">
                <a16:creationId xmlns:a16="http://schemas.microsoft.com/office/drawing/2014/main" id="{A41F0117-F1A9-6E5E-D7EE-4FD779EFFC0D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784" y="1905507"/>
            <a:ext cx="5503977" cy="3673802"/>
          </a:xfrm>
        </p:spPr>
      </p:pic>
      <p:pic>
        <p:nvPicPr>
          <p:cNvPr id="8" name="Picture 7" descr="A document with numbers and text&#10;&#10;AI-generated content may be incorrect.">
            <a:extLst>
              <a:ext uri="{FF2B5EF4-FFF2-40B4-BE49-F238E27FC236}">
                <a16:creationId xmlns:a16="http://schemas.microsoft.com/office/drawing/2014/main" id="{DCF009CE-E45F-6AFA-CBA7-D401726F1F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2" t="6425" r="3518" b="20192"/>
          <a:stretch>
            <a:fillRect/>
          </a:stretch>
        </p:blipFill>
        <p:spPr>
          <a:xfrm>
            <a:off x="890955" y="1576387"/>
            <a:ext cx="4726148" cy="433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75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9DE9EEE-BA73-504D-97F2-3AF01D6D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88" y="327455"/>
            <a:ext cx="11122146" cy="783997"/>
          </a:xfrm>
        </p:spPr>
        <p:txBody>
          <a:bodyPr/>
          <a:lstStyle/>
          <a:p>
            <a:pPr algn="ctr"/>
            <a:r>
              <a:rPr lang="en-US" sz="4400" dirty="0"/>
              <a:t>STATEMENT OF FINANCIAL POSITION</a:t>
            </a:r>
          </a:p>
        </p:txBody>
      </p:sp>
      <p:pic>
        <p:nvPicPr>
          <p:cNvPr id="5" name="Picture 4" descr="A close-up of a document&#10;&#10;AI-generated content may be incorrect.">
            <a:extLst>
              <a:ext uri="{FF2B5EF4-FFF2-40B4-BE49-F238E27FC236}">
                <a16:creationId xmlns:a16="http://schemas.microsoft.com/office/drawing/2014/main" id="{ED7994DF-743F-7E28-6058-9D85015032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82" b="24070"/>
          <a:stretch>
            <a:fillRect/>
          </a:stretch>
        </p:blipFill>
        <p:spPr>
          <a:xfrm>
            <a:off x="6303266" y="1066799"/>
            <a:ext cx="4928726" cy="5038725"/>
          </a:xfrm>
          <a:prstGeom prst="rect">
            <a:avLst/>
          </a:prstGeom>
        </p:spPr>
      </p:pic>
      <p:pic>
        <p:nvPicPr>
          <p:cNvPr id="9" name="Picture 8" descr="A person holding a bicycle wheel&#10;&#10;AI-generated content may be incorrect.">
            <a:extLst>
              <a:ext uri="{FF2B5EF4-FFF2-40B4-BE49-F238E27FC236}">
                <a16:creationId xmlns:a16="http://schemas.microsoft.com/office/drawing/2014/main" id="{A8D666B6-24C7-DF3C-9C07-3F81D453AB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250" y="1668293"/>
            <a:ext cx="5115782" cy="401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018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0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7.53888699907796056010E+00&quot;&gt;&lt;m_msothmcolidx val=&quot;0&quot;/&gt;&lt;m_rgb r=&quot;00&quot; g=&quot;D8&quot; b=&quot;00&quot;/&gt;&lt;/elem&gt;&lt;elem m_fUsage=&quot;2.39041649602053096757E+00&quot;&gt;&lt;m_msothmcolidx val=&quot;0&quot;/&gt;&lt;m_rgb r=&quot;E7&quot; g=&quot;25&quot; b=&quot;0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MCA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3BE24"/>
      </a:accent1>
      <a:accent2>
        <a:srgbClr val="1A1818"/>
      </a:accent2>
      <a:accent3>
        <a:srgbClr val="41464B"/>
      </a:accent3>
      <a:accent4>
        <a:srgbClr val="339FC3"/>
      </a:accent4>
      <a:accent5>
        <a:srgbClr val="4EA544"/>
      </a:accent5>
      <a:accent6>
        <a:srgbClr val="CC242A"/>
      </a:accent6>
      <a:hlink>
        <a:srgbClr val="00B0F0"/>
      </a:hlink>
      <a:folHlink>
        <a:srgbClr val="954F72"/>
      </a:folHlink>
    </a:clrScheme>
    <a:fontScheme name="Office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BEBEB"/>
        </a:solidFill>
        <a:ln w="3175"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webextension1.xml><?xml version="1.0" encoding="utf-8"?>
<we:webextension xmlns:we="http://schemas.microsoft.com/office/webextensions/webextension/2010/11" id="{48FD834F-9F68-4B38-B79A-E461F6FECB98}">
  <we:reference id="wa104381526" version="1.0.0.2" store="en-US" storeType="OMEX"/>
  <we:alternateReferences>
    <we:reference id="WA104381526" version="1.0.0.2" store="WA104381526" storeType="OMEX"/>
  </we:alternateReferences>
  <we:properties>
    <we:property name="FormID" value="&quot;iwONBWCrTEKPTvKSrpVu-KqMak5g6BNBqm66m1KxT35UNlJGTUxZMTg4R0Q4QTVOR0VJQU1VR1lSMC4u&quot;"/>
    <we:property name="FormMode" value="&quot;DesignTime&quot;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6F85B7F1-A5CC-40A0-9601-F7A3DF83F041}">
  <we:reference id="wa104381526" version="1.0.0.2" store="en-US" storeType="OMEX"/>
  <we:alternateReferences>
    <we:reference id="WA104381526" version="1.0.0.2" store="WA104381526" storeType="OMEX"/>
  </we:alternateReferences>
  <we:properties>
    <we:property name="FormID" value="&quot;iwONBWCrTEKPTvKSrpVu-KqMak5g6BNBqm66m1KxT35UQzlaQVJNTzM5VTZGOFJUUkRGVkk1QkpMTC4u&quot;"/>
    <we:property name="FormMode" value="&quot;DesignTime&quot;"/>
  </we:properties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6289E885-A45D-432D-820F-B15751677650}">
  <we:reference id="wa104381526" version="1.0.0.2" store="en-US" storeType="OMEX"/>
  <we:alternateReferences>
    <we:reference id="WA104381526" version="1.0.0.2" store="WA104381526" storeType="OMEX"/>
  </we:alternateReferences>
  <we:properties>
    <we:property name="FormID" value="&quot;iwONBWCrTEKPTvKSrpVu-KqMak5g6BNBqm66m1KxT35UNDdJNU1NQk1YV1dFM05XNTNGOFY0S0hSRS4u&quot;"/>
    <we:property name="FormMode" value="&quot;DesignTime&quot;"/>
  </we:properties>
  <we:bindings/>
  <we:snapshot xmlns:r="http://schemas.openxmlformats.org/officeDocument/2006/relationships"/>
</we:webextension>
</file>

<file path=ppt/webextensions/webextension4.xml><?xml version="1.0" encoding="utf-8"?>
<we:webextension xmlns:we="http://schemas.microsoft.com/office/webextensions/webextension/2010/11" id="{910E076B-5BCB-453E-A5FF-1D8FD618C193}">
  <we:reference id="wa104381526" version="1.0.0.2" store="en-US" storeType="OMEX"/>
  <we:alternateReferences>
    <we:reference id="WA104381526" version="1.0.0.2" store="WA104381526" storeType="OMEX"/>
  </we:alternateReferences>
  <we:properties>
    <we:property name="FormID" value="&quot;iwONBWCrTEKPTvKSrpVu-KqMak5g6BNBqm66m1KxT35UN0Q4QjNXQjQ4Q0lPOEJOS0ZCMVdVWFU3Qy4u&quot;"/>
    <we:property name="FormMode" value="&quot;DesignTime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7D88C2AEF4144EB0055A3751247DB7" ma:contentTypeVersion="12" ma:contentTypeDescription="Create a new document." ma:contentTypeScope="" ma:versionID="59a49aa093dffd0d35f7f0ce7345d814">
  <xsd:schema xmlns:xsd="http://www.w3.org/2001/XMLSchema" xmlns:xs="http://www.w3.org/2001/XMLSchema" xmlns:p="http://schemas.microsoft.com/office/2006/metadata/properties" xmlns:ns2="f84c75b1-bf13-4fbe-bdb3-f3ee54efde88" xmlns:ns3="7a7eb0a7-cf13-4567-a5a6-ef9f31dc5f46" targetNamespace="http://schemas.microsoft.com/office/2006/metadata/properties" ma:root="true" ma:fieldsID="3615cf372fcf82dea7971643ae39147a" ns2:_="" ns3:_="">
    <xsd:import namespace="f84c75b1-bf13-4fbe-bdb3-f3ee54efde88"/>
    <xsd:import namespace="7a7eb0a7-cf13-4567-a5a6-ef9f31dc5f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4c75b1-bf13-4fbe-bdb3-f3ee54efde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7eb0a7-cf13-4567-a5a6-ef9f31dc5f4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AB4256-2FB9-4FDD-8C96-FDDC91654D4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A8182C3-4ABF-4F57-BA0D-05BF5BB87D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4c75b1-bf13-4fbe-bdb3-f3ee54efde88"/>
    <ds:schemaRef ds:uri="7a7eb0a7-cf13-4567-a5a6-ef9f31dc5f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B861BDF-1705-4C9F-B0FF-D01D00130223}">
  <ds:schemaRefs>
    <ds:schemaRef ds:uri="f84c75b1-bf13-4fbe-bdb3-f3ee54efde88"/>
    <ds:schemaRef ds:uri="http://schemas.microsoft.com/office/2006/metadata/properties"/>
    <ds:schemaRef ds:uri="http://www.w3.org/XML/1998/namespace"/>
    <ds:schemaRef ds:uri="http://purl.org/dc/terms/"/>
    <ds:schemaRef ds:uri="7a7eb0a7-cf13-4567-a5a6-ef9f31dc5f46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94</TotalTime>
  <Words>3404</Words>
  <Application>Microsoft Office PowerPoint</Application>
  <PresentationFormat>Widescreen</PresentationFormat>
  <Paragraphs>683</Paragraphs>
  <Slides>42</Slides>
  <Notes>42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4" baseType="lpstr">
      <vt:lpstr>ＭＳ Ｐゴシック</vt:lpstr>
      <vt:lpstr>Aptos</vt:lpstr>
      <vt:lpstr>Aptos Display</vt:lpstr>
      <vt:lpstr>Aptos Narrow</vt:lpstr>
      <vt:lpstr>Arial</vt:lpstr>
      <vt:lpstr>Calibri</vt:lpstr>
      <vt:lpstr>Calibri Light</vt:lpstr>
      <vt:lpstr>Courier New</vt:lpstr>
      <vt:lpstr>Wingdings</vt:lpstr>
      <vt:lpstr>1_Office Theme</vt:lpstr>
      <vt:lpstr>Custom Design</vt:lpstr>
      <vt:lpstr>think-cell Slide</vt:lpstr>
      <vt:lpstr>PowerPoint Presentation</vt:lpstr>
      <vt:lpstr>MISSION, VISION, VALUES</vt:lpstr>
      <vt:lpstr>PowerPoint Presentation</vt:lpstr>
      <vt:lpstr>Land Acknowledgement</vt:lpstr>
      <vt:lpstr>CONTENT</vt:lpstr>
      <vt:lpstr>PowerPoint Presentation</vt:lpstr>
      <vt:lpstr>PowerPoint Presentation</vt:lpstr>
      <vt:lpstr>STATEMENT OF OPERATIONS</vt:lpstr>
      <vt:lpstr>STATEMENT OF FINANCIAL POSITION</vt:lpstr>
      <vt:lpstr>STATEMENT OF CASH FLOWS</vt:lpstr>
      <vt:lpstr>PowerPoint Presentation</vt:lpstr>
      <vt:lpstr>FINANCE ROADMAP</vt:lpstr>
      <vt:lpstr>PowerPoint Presentation</vt:lpstr>
      <vt:lpstr>MCA STAFF</vt:lpstr>
      <vt:lpstr>2025 STRATEGIC PRIORITIES</vt:lpstr>
      <vt:lpstr>MEMBERSHIPS</vt:lpstr>
      <vt:lpstr>Membership</vt:lpstr>
      <vt:lpstr>PowerPoint Presentation</vt:lpstr>
      <vt:lpstr>  Sport Initiation - Kids of Mud Program</vt:lpstr>
      <vt:lpstr>Performance Pathway – Provincial Program</vt:lpstr>
      <vt:lpstr>  Athlete Pathway - Bridging the Gap</vt:lpstr>
      <vt:lpstr>PowerPoint Presentation</vt:lpstr>
      <vt:lpstr>Clubs &amp; Partners</vt:lpstr>
      <vt:lpstr>Clubs + Regions</vt:lpstr>
      <vt:lpstr>Club + Sport Development</vt:lpstr>
      <vt:lpstr>PowerPoint Presentation</vt:lpstr>
      <vt:lpstr>Multi-Sport</vt:lpstr>
      <vt:lpstr>Multi-Sport/Club Events</vt:lpstr>
      <vt:lpstr>PowerPoint Presentation</vt:lpstr>
      <vt:lpstr>Canada Games Legacy Venue Bison Butte: Multi-use public trails 2014-2025</vt:lpstr>
      <vt:lpstr> Women’s sub-committee for  safe inclusive sport 2014-2025</vt:lpstr>
      <vt:lpstr>PowerPoint Presentation</vt:lpstr>
      <vt:lpstr>ANNUAL REPORTS</vt:lpstr>
      <vt:lpstr>PowerPoint Presentation</vt:lpstr>
      <vt:lpstr>MCA BOARD STRUCTURE</vt:lpstr>
      <vt:lpstr>Board of Director Elections</vt:lpstr>
      <vt:lpstr>ELECTION PROCESS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A Organizational Chart</dc:title>
  <dc:creator>Twila Cruickshank</dc:creator>
  <cp:lastModifiedBy>Twila Cruickshank</cp:lastModifiedBy>
  <cp:revision>262</cp:revision>
  <cp:lastPrinted>2023-10-31T13:11:00Z</cp:lastPrinted>
  <dcterms:created xsi:type="dcterms:W3CDTF">2021-03-16T05:47:13Z</dcterms:created>
  <dcterms:modified xsi:type="dcterms:W3CDTF">2025-11-19T22:5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7D88C2AEF4144EB0055A3751247DB7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ComplianceAssetId">
    <vt:lpwstr/>
  </property>
  <property fmtid="{D5CDD505-2E9C-101B-9397-08002B2CF9AE}" pid="7" name="_ExtendedDescription">
    <vt:lpwstr/>
  </property>
</Properties>
</file>